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076138453" r:id="rId2"/>
    <p:sldId id="2076138444" r:id="rId3"/>
    <p:sldId id="2076138455" r:id="rId4"/>
    <p:sldId id="2076138456" r:id="rId5"/>
    <p:sldId id="275" r:id="rId6"/>
    <p:sldId id="2076138468" r:id="rId7"/>
    <p:sldId id="292" r:id="rId8"/>
    <p:sldId id="2076138471" r:id="rId9"/>
    <p:sldId id="2076138479" r:id="rId10"/>
    <p:sldId id="2076138480" r:id="rId11"/>
    <p:sldId id="263" r:id="rId12"/>
    <p:sldId id="2076138482" r:id="rId13"/>
    <p:sldId id="2076138473" r:id="rId14"/>
    <p:sldId id="2076138474" r:id="rId15"/>
    <p:sldId id="2076138475" r:id="rId16"/>
    <p:sldId id="2076138469" r:id="rId17"/>
    <p:sldId id="2076138481" r:id="rId18"/>
    <p:sldId id="2076138483" r:id="rId19"/>
    <p:sldId id="2076138467" r:id="rId20"/>
    <p:sldId id="2076138459" r:id="rId21"/>
    <p:sldId id="2076138466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99E2BA-1167-4F82-A917-E27C8DEC1E3B}" v="2083" dt="2021-12-17T22:05:55.089"/>
    <p1510:client id="{96B011B6-AD0A-4F42-85D3-06629087B6FE}" v="1661" dt="2021-12-17T15:15:59.185"/>
    <p1510:client id="{9A9D8430-7D56-4007-B2F0-86CDA9F87D17}" v="368" dt="2021-12-17T21:38:17.184"/>
    <p1510:client id="{DDF8AF6F-AD14-4541-945C-D410D2B6EFA4}" v="88" dt="2021-12-17T17:38:21.740"/>
    <p1510:client id="{F26AFFEC-9136-4C0F-9368-E871CE1FC4F9}" v="1480" dt="2021-12-17T21:41:34.884"/>
    <p1510:client id="{FA120042-47B7-4BCF-9065-96F6408FBDFF}" v="2816" dt="2021-12-17T21:49:56.4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ch, Steven" userId="163fbdcd-b00d-40ec-a032-f23b1edd7073" providerId="ADAL" clId="{7699E2BA-1167-4F82-A917-E27C8DEC1E3B}"/>
    <pc:docChg chg="undo redo custSel addSld delSld modSld sldOrd">
      <pc:chgData name="Kirsch, Steven" userId="163fbdcd-b00d-40ec-a032-f23b1edd7073" providerId="ADAL" clId="{7699E2BA-1167-4F82-A917-E27C8DEC1E3B}" dt="2021-12-17T22:05:55.089" v="2874" actId="20577"/>
      <pc:docMkLst>
        <pc:docMk/>
      </pc:docMkLst>
      <pc:sldChg chg="modSp mod">
        <pc:chgData name="Kirsch, Steven" userId="163fbdcd-b00d-40ec-a032-f23b1edd7073" providerId="ADAL" clId="{7699E2BA-1167-4F82-A917-E27C8DEC1E3B}" dt="2021-12-07T15:58:51.047" v="680"/>
        <pc:sldMkLst>
          <pc:docMk/>
          <pc:sldMk cId="4045745438" sldId="258"/>
        </pc:sldMkLst>
        <pc:spChg chg="mod">
          <ac:chgData name="Kirsch, Steven" userId="163fbdcd-b00d-40ec-a032-f23b1edd7073" providerId="ADAL" clId="{7699E2BA-1167-4F82-A917-E27C8DEC1E3B}" dt="2021-12-07T15:58:51.047" v="680"/>
          <ac:spMkLst>
            <pc:docMk/>
            <pc:sldMk cId="4045745438" sldId="258"/>
            <ac:spMk id="3" creationId="{8E30DF72-ADBA-4A08-8059-AEF3ABF6BACA}"/>
          </ac:spMkLst>
        </pc:spChg>
      </pc:sldChg>
      <pc:sldChg chg="modSp mod">
        <pc:chgData name="Kirsch, Steven" userId="163fbdcd-b00d-40ec-a032-f23b1edd7073" providerId="ADAL" clId="{7699E2BA-1167-4F82-A917-E27C8DEC1E3B}" dt="2021-12-07T15:58:59.054" v="682" actId="27636"/>
        <pc:sldMkLst>
          <pc:docMk/>
          <pc:sldMk cId="3078431255" sldId="259"/>
        </pc:sldMkLst>
        <pc:spChg chg="mod">
          <ac:chgData name="Kirsch, Steven" userId="163fbdcd-b00d-40ec-a032-f23b1edd7073" providerId="ADAL" clId="{7699E2BA-1167-4F82-A917-E27C8DEC1E3B}" dt="2021-12-07T15:58:59.054" v="682" actId="27636"/>
          <ac:spMkLst>
            <pc:docMk/>
            <pc:sldMk cId="3078431255" sldId="259"/>
            <ac:spMk id="3" creationId="{AF1C4326-A0EA-45EC-B770-413639A517DD}"/>
          </ac:spMkLst>
        </pc:spChg>
      </pc:sldChg>
      <pc:sldChg chg="modSp new del mod">
        <pc:chgData name="Kirsch, Steven" userId="163fbdcd-b00d-40ec-a032-f23b1edd7073" providerId="ADAL" clId="{7699E2BA-1167-4F82-A917-E27C8DEC1E3B}" dt="2021-12-12T16:35:26.938" v="688" actId="47"/>
        <pc:sldMkLst>
          <pc:docMk/>
          <pc:sldMk cId="4188939156" sldId="260"/>
        </pc:sldMkLst>
        <pc:spChg chg="mod">
          <ac:chgData name="Kirsch, Steven" userId="163fbdcd-b00d-40ec-a032-f23b1edd7073" providerId="ADAL" clId="{7699E2BA-1167-4F82-A917-E27C8DEC1E3B}" dt="2021-12-07T15:59:03.334" v="684"/>
          <ac:spMkLst>
            <pc:docMk/>
            <pc:sldMk cId="4188939156" sldId="260"/>
            <ac:spMk id="3" creationId="{C50F2131-4F66-44AC-8A0F-AC64394F3F7E}"/>
          </ac:spMkLst>
        </pc:spChg>
      </pc:sldChg>
      <pc:sldChg chg="addSp delSp modSp">
        <pc:chgData name="Kirsch, Steven" userId="163fbdcd-b00d-40ec-a032-f23b1edd7073" providerId="ADAL" clId="{7699E2BA-1167-4F82-A917-E27C8DEC1E3B}" dt="2021-12-17T16:34:34.264" v="2574" actId="1076"/>
        <pc:sldMkLst>
          <pc:docMk/>
          <pc:sldMk cId="0" sldId="2076138453"/>
        </pc:sldMkLst>
        <pc:picChg chg="add del">
          <ac:chgData name="Kirsch, Steven" userId="163fbdcd-b00d-40ec-a032-f23b1edd7073" providerId="ADAL" clId="{7699E2BA-1167-4F82-A917-E27C8DEC1E3B}" dt="2021-12-17T16:32:33.031" v="2554" actId="478"/>
          <ac:picMkLst>
            <pc:docMk/>
            <pc:sldMk cId="0" sldId="2076138453"/>
            <ac:picMk id="46082" creationId="{D439A12D-AC91-4311-85BC-C0FB12880F6B}"/>
          </ac:picMkLst>
        </pc:picChg>
        <pc:picChg chg="add del">
          <ac:chgData name="Kirsch, Steven" userId="163fbdcd-b00d-40ec-a032-f23b1edd7073" providerId="ADAL" clId="{7699E2BA-1167-4F82-A917-E27C8DEC1E3B}" dt="2021-12-17T16:32:44.958" v="2556"/>
          <ac:picMkLst>
            <pc:docMk/>
            <pc:sldMk cId="0" sldId="2076138453"/>
            <ac:picMk id="46084" creationId="{F61E29FF-CBE5-4D10-8951-AAF86053673F}"/>
          </ac:picMkLst>
        </pc:picChg>
        <pc:picChg chg="add del">
          <ac:chgData name="Kirsch, Steven" userId="163fbdcd-b00d-40ec-a032-f23b1edd7073" providerId="ADAL" clId="{7699E2BA-1167-4F82-A917-E27C8DEC1E3B}" dt="2021-12-17T16:32:46.462" v="2558" actId="478"/>
          <ac:picMkLst>
            <pc:docMk/>
            <pc:sldMk cId="0" sldId="2076138453"/>
            <ac:picMk id="46086" creationId="{D8B22D15-AF32-48D0-A9A1-E9B9723E8F6E}"/>
          </ac:picMkLst>
        </pc:picChg>
        <pc:picChg chg="add del">
          <ac:chgData name="Kirsch, Steven" userId="163fbdcd-b00d-40ec-a032-f23b1edd7073" providerId="ADAL" clId="{7699E2BA-1167-4F82-A917-E27C8DEC1E3B}" dt="2021-12-17T16:32:59.525" v="2560"/>
          <ac:picMkLst>
            <pc:docMk/>
            <pc:sldMk cId="0" sldId="2076138453"/>
            <ac:picMk id="46088" creationId="{14525C7B-0C5D-448B-A760-3F6BBF7C510C}"/>
          </ac:picMkLst>
        </pc:picChg>
        <pc:picChg chg="add del">
          <ac:chgData name="Kirsch, Steven" userId="163fbdcd-b00d-40ec-a032-f23b1edd7073" providerId="ADAL" clId="{7699E2BA-1167-4F82-A917-E27C8DEC1E3B}" dt="2021-12-17T16:33:00.865" v="2562" actId="478"/>
          <ac:picMkLst>
            <pc:docMk/>
            <pc:sldMk cId="0" sldId="2076138453"/>
            <ac:picMk id="46090" creationId="{3E599A6B-1736-4B75-968E-0E3C0C688F4B}"/>
          </ac:picMkLst>
        </pc:picChg>
        <pc:picChg chg="add del mod">
          <ac:chgData name="Kirsch, Steven" userId="163fbdcd-b00d-40ec-a032-f23b1edd7073" providerId="ADAL" clId="{7699E2BA-1167-4F82-A917-E27C8DEC1E3B}" dt="2021-12-17T16:33:30.767" v="2566" actId="478"/>
          <ac:picMkLst>
            <pc:docMk/>
            <pc:sldMk cId="0" sldId="2076138453"/>
            <ac:picMk id="46092" creationId="{6EFEF782-28FA-4CF8-8060-E15925FFB7CE}"/>
          </ac:picMkLst>
        </pc:picChg>
        <pc:picChg chg="add mod">
          <ac:chgData name="Kirsch, Steven" userId="163fbdcd-b00d-40ec-a032-f23b1edd7073" providerId="ADAL" clId="{7699E2BA-1167-4F82-A917-E27C8DEC1E3B}" dt="2021-12-17T16:34:34.264" v="2574" actId="1076"/>
          <ac:picMkLst>
            <pc:docMk/>
            <pc:sldMk cId="0" sldId="2076138453"/>
            <ac:picMk id="46094" creationId="{0BDFC4B6-1A54-4C23-B3B4-CD9A1708BC7D}"/>
          </ac:picMkLst>
        </pc:picChg>
      </pc:sldChg>
      <pc:sldChg chg="modSp add mod ord">
        <pc:chgData name="Kirsch, Steven" userId="163fbdcd-b00d-40ec-a032-f23b1edd7073" providerId="ADAL" clId="{7699E2BA-1167-4F82-A917-E27C8DEC1E3B}" dt="2021-12-17T16:35:29.938" v="2601" actId="1076"/>
        <pc:sldMkLst>
          <pc:docMk/>
          <pc:sldMk cId="2202518655" sldId="2076138455"/>
        </pc:sldMkLst>
        <pc:spChg chg="mod">
          <ac:chgData name="Kirsch, Steven" userId="163fbdcd-b00d-40ec-a032-f23b1edd7073" providerId="ADAL" clId="{7699E2BA-1167-4F82-A917-E27C8DEC1E3B}" dt="2021-12-17T16:35:13.645" v="2593" actId="255"/>
          <ac:spMkLst>
            <pc:docMk/>
            <pc:sldMk cId="2202518655" sldId="2076138455"/>
            <ac:spMk id="4" creationId="{00000000-0000-0000-0000-000000000000}"/>
          </ac:spMkLst>
        </pc:spChg>
        <pc:spChg chg="mod">
          <ac:chgData name="Kirsch, Steven" userId="163fbdcd-b00d-40ec-a032-f23b1edd7073" providerId="ADAL" clId="{7699E2BA-1167-4F82-A917-E27C8DEC1E3B}" dt="2021-12-17T16:35:29.938" v="2601" actId="1076"/>
          <ac:spMkLst>
            <pc:docMk/>
            <pc:sldMk cId="2202518655" sldId="2076138455"/>
            <ac:spMk id="11" creationId="{F280B2C5-7624-48CF-8749-F4E3121AC2C2}"/>
          </ac:spMkLst>
        </pc:spChg>
      </pc:sldChg>
      <pc:sldChg chg="modSp add mod">
        <pc:chgData name="Kirsch, Steven" userId="163fbdcd-b00d-40ec-a032-f23b1edd7073" providerId="ADAL" clId="{7699E2BA-1167-4F82-A917-E27C8DEC1E3B}" dt="2021-12-17T21:54:23.988" v="2757" actId="20577"/>
        <pc:sldMkLst>
          <pc:docMk/>
          <pc:sldMk cId="257380017" sldId="2076138456"/>
        </pc:sldMkLst>
        <pc:spChg chg="mod">
          <ac:chgData name="Kirsch, Steven" userId="163fbdcd-b00d-40ec-a032-f23b1edd7073" providerId="ADAL" clId="{7699E2BA-1167-4F82-A917-E27C8DEC1E3B}" dt="2021-12-17T21:54:23.988" v="2757" actId="20577"/>
          <ac:spMkLst>
            <pc:docMk/>
            <pc:sldMk cId="257380017" sldId="2076138456"/>
            <ac:spMk id="96" creationId="{00000000-0000-0000-0000-000000000000}"/>
          </ac:spMkLst>
        </pc:spChg>
      </pc:sldChg>
      <pc:sldChg chg="addSp delSp modSp add mod">
        <pc:chgData name="Kirsch, Steven" userId="163fbdcd-b00d-40ec-a032-f23b1edd7073" providerId="ADAL" clId="{7699E2BA-1167-4F82-A917-E27C8DEC1E3B}" dt="2021-12-17T21:59:16.765" v="2759" actId="27636"/>
        <pc:sldMkLst>
          <pc:docMk/>
          <pc:sldMk cId="700120364" sldId="2076138459"/>
        </pc:sldMkLst>
        <pc:spChg chg="mod">
          <ac:chgData name="Kirsch, Steven" userId="163fbdcd-b00d-40ec-a032-f23b1edd7073" providerId="ADAL" clId="{7699E2BA-1167-4F82-A917-E27C8DEC1E3B}" dt="2021-12-17T21:59:16.765" v="2759" actId="27636"/>
          <ac:spMkLst>
            <pc:docMk/>
            <pc:sldMk cId="700120364" sldId="2076138459"/>
            <ac:spMk id="4" creationId="{00000000-0000-0000-0000-000000000000}"/>
          </ac:spMkLst>
        </pc:spChg>
        <pc:spChg chg="add mod">
          <ac:chgData name="Kirsch, Steven" userId="163fbdcd-b00d-40ec-a032-f23b1edd7073" providerId="ADAL" clId="{7699E2BA-1167-4F82-A917-E27C8DEC1E3B}" dt="2021-12-17T16:15:51.966" v="1622" actId="207"/>
          <ac:spMkLst>
            <pc:docMk/>
            <pc:sldMk cId="700120364" sldId="2076138459"/>
            <ac:spMk id="11" creationId="{B49FCE12-1ADD-44A3-9B89-CFB6A4BFF764}"/>
          </ac:spMkLst>
        </pc:spChg>
        <pc:spChg chg="add del mod">
          <ac:chgData name="Kirsch, Steven" userId="163fbdcd-b00d-40ec-a032-f23b1edd7073" providerId="ADAL" clId="{7699E2BA-1167-4F82-A917-E27C8DEC1E3B}" dt="2021-12-17T16:10:20.671" v="1510" actId="478"/>
          <ac:spMkLst>
            <pc:docMk/>
            <pc:sldMk cId="700120364" sldId="2076138459"/>
            <ac:spMk id="12" creationId="{61EAB854-C310-48AE-BDC5-A65B6D3BB4D6}"/>
          </ac:spMkLst>
        </pc:spChg>
        <pc:spChg chg="mod">
          <ac:chgData name="Kirsch, Steven" userId="163fbdcd-b00d-40ec-a032-f23b1edd7073" providerId="ADAL" clId="{7699E2BA-1167-4F82-A917-E27C8DEC1E3B}" dt="2021-12-17T16:16:07.723" v="1623" actId="122"/>
          <ac:spMkLst>
            <pc:docMk/>
            <pc:sldMk cId="700120364" sldId="2076138459"/>
            <ac:spMk id="13" creationId="{7C3848BD-D91C-4DDB-BD21-97C67DCA643D}"/>
          </ac:spMkLst>
        </pc:spChg>
        <pc:spChg chg="mod">
          <ac:chgData name="Kirsch, Steven" userId="163fbdcd-b00d-40ec-a032-f23b1edd7073" providerId="ADAL" clId="{7699E2BA-1167-4F82-A917-E27C8DEC1E3B}" dt="2021-12-17T16:11:49.925" v="1535" actId="1076"/>
          <ac:spMkLst>
            <pc:docMk/>
            <pc:sldMk cId="700120364" sldId="2076138459"/>
            <ac:spMk id="14" creationId="{DBB72897-5A1E-4E30-A407-9EACEFE91A3B}"/>
          </ac:spMkLst>
        </pc:spChg>
        <pc:spChg chg="del mod">
          <ac:chgData name="Kirsch, Steven" userId="163fbdcd-b00d-40ec-a032-f23b1edd7073" providerId="ADAL" clId="{7699E2BA-1167-4F82-A917-E27C8DEC1E3B}" dt="2021-12-17T16:06:57.231" v="1459" actId="21"/>
          <ac:spMkLst>
            <pc:docMk/>
            <pc:sldMk cId="700120364" sldId="2076138459"/>
            <ac:spMk id="15" creationId="{9DDBC192-3D79-4F87-999A-ED5E5BBEBA6A}"/>
          </ac:spMkLst>
        </pc:spChg>
        <pc:spChg chg="add mod">
          <ac:chgData name="Kirsch, Steven" userId="163fbdcd-b00d-40ec-a032-f23b1edd7073" providerId="ADAL" clId="{7699E2BA-1167-4F82-A917-E27C8DEC1E3B}" dt="2021-12-17T16:15:36.788" v="1619" actId="207"/>
          <ac:spMkLst>
            <pc:docMk/>
            <pc:sldMk cId="700120364" sldId="2076138459"/>
            <ac:spMk id="16" creationId="{33AEB0F9-CA93-42A7-859F-80D44037E767}"/>
          </ac:spMkLst>
        </pc:spChg>
        <pc:spChg chg="add mod">
          <ac:chgData name="Kirsch, Steven" userId="163fbdcd-b00d-40ec-a032-f23b1edd7073" providerId="ADAL" clId="{7699E2BA-1167-4F82-A917-E27C8DEC1E3B}" dt="2021-12-17T16:15:48.543" v="1621" actId="207"/>
          <ac:spMkLst>
            <pc:docMk/>
            <pc:sldMk cId="700120364" sldId="2076138459"/>
            <ac:spMk id="17" creationId="{C2B8B597-308F-445B-95BB-3DF5E7B2B037}"/>
          </ac:spMkLst>
        </pc:spChg>
        <pc:spChg chg="add del mod">
          <ac:chgData name="Kirsch, Steven" userId="163fbdcd-b00d-40ec-a032-f23b1edd7073" providerId="ADAL" clId="{7699E2BA-1167-4F82-A917-E27C8DEC1E3B}" dt="2021-12-17T16:12:23.555" v="1544" actId="478"/>
          <ac:spMkLst>
            <pc:docMk/>
            <pc:sldMk cId="700120364" sldId="2076138459"/>
            <ac:spMk id="18" creationId="{FD2331B5-6AE3-4496-89BA-C126DA99FA24}"/>
          </ac:spMkLst>
        </pc:spChg>
        <pc:spChg chg="add mod">
          <ac:chgData name="Kirsch, Steven" userId="163fbdcd-b00d-40ec-a032-f23b1edd7073" providerId="ADAL" clId="{7699E2BA-1167-4F82-A917-E27C8DEC1E3B}" dt="2021-12-17T16:12:53.521" v="1592" actId="20577"/>
          <ac:spMkLst>
            <pc:docMk/>
            <pc:sldMk cId="700120364" sldId="2076138459"/>
            <ac:spMk id="19" creationId="{FDD5DA12-64FE-4198-B3E4-64E812BA2339}"/>
          </ac:spMkLst>
        </pc:spChg>
        <pc:spChg chg="add mod">
          <ac:chgData name="Kirsch, Steven" userId="163fbdcd-b00d-40ec-a032-f23b1edd7073" providerId="ADAL" clId="{7699E2BA-1167-4F82-A917-E27C8DEC1E3B}" dt="2021-12-17T16:12:48.987" v="1590" actId="20577"/>
          <ac:spMkLst>
            <pc:docMk/>
            <pc:sldMk cId="700120364" sldId="2076138459"/>
            <ac:spMk id="20" creationId="{EFADE823-B9A1-47EC-AD23-FC519A8D688F}"/>
          </ac:spMkLst>
        </pc:spChg>
        <pc:spChg chg="del mod topLvl">
          <ac:chgData name="Kirsch, Steven" userId="163fbdcd-b00d-40ec-a032-f23b1edd7073" providerId="ADAL" clId="{7699E2BA-1167-4F82-A917-E27C8DEC1E3B}" dt="2021-12-17T16:10:19.315" v="1509" actId="478"/>
          <ac:spMkLst>
            <pc:docMk/>
            <pc:sldMk cId="700120364" sldId="2076138459"/>
            <ac:spMk id="29" creationId="{8929749D-AA86-46D9-90AE-17CB67ABFC4D}"/>
          </ac:spMkLst>
        </pc:spChg>
        <pc:spChg chg="mod topLvl">
          <ac:chgData name="Kirsch, Steven" userId="163fbdcd-b00d-40ec-a032-f23b1edd7073" providerId="ADAL" clId="{7699E2BA-1167-4F82-A917-E27C8DEC1E3B}" dt="2021-12-17T16:15:45.500" v="1620" actId="207"/>
          <ac:spMkLst>
            <pc:docMk/>
            <pc:sldMk cId="700120364" sldId="2076138459"/>
            <ac:spMk id="30" creationId="{1C4952D2-589A-40A5-AA13-7D04D8EDB774}"/>
          </ac:spMkLst>
        </pc:spChg>
        <pc:spChg chg="del mod topLvl">
          <ac:chgData name="Kirsch, Steven" userId="163fbdcd-b00d-40ec-a032-f23b1edd7073" providerId="ADAL" clId="{7699E2BA-1167-4F82-A917-E27C8DEC1E3B}" dt="2021-12-17T16:07:08.928" v="1464" actId="21"/>
          <ac:spMkLst>
            <pc:docMk/>
            <pc:sldMk cId="700120364" sldId="2076138459"/>
            <ac:spMk id="31" creationId="{5BC50533-2DC5-477F-8955-B76A74C4A93A}"/>
          </ac:spMkLst>
        </pc:spChg>
        <pc:grpChg chg="del">
          <ac:chgData name="Kirsch, Steven" userId="163fbdcd-b00d-40ec-a032-f23b1edd7073" providerId="ADAL" clId="{7699E2BA-1167-4F82-A917-E27C8DEC1E3B}" dt="2021-12-17T16:07:02.039" v="1461" actId="165"/>
          <ac:grpSpMkLst>
            <pc:docMk/>
            <pc:sldMk cId="700120364" sldId="2076138459"/>
            <ac:grpSpMk id="28" creationId="{19A517A1-6BD5-44CC-B9E0-8BB11965716C}"/>
          </ac:grpSpMkLst>
        </pc:grpChg>
        <pc:picChg chg="add mod">
          <ac:chgData name="Kirsch, Steven" userId="163fbdcd-b00d-40ec-a032-f23b1edd7073" providerId="ADAL" clId="{7699E2BA-1167-4F82-A917-E27C8DEC1E3B}" dt="2021-12-17T16:14:01.261" v="1602" actId="207"/>
          <ac:picMkLst>
            <pc:docMk/>
            <pc:sldMk cId="700120364" sldId="2076138459"/>
            <ac:picMk id="5" creationId="{EBE95A64-3DEA-4D9A-91F4-0856089B6592}"/>
          </ac:picMkLst>
        </pc:picChg>
        <pc:picChg chg="add mod">
          <ac:chgData name="Kirsch, Steven" userId="163fbdcd-b00d-40ec-a032-f23b1edd7073" providerId="ADAL" clId="{7699E2BA-1167-4F82-A917-E27C8DEC1E3B}" dt="2021-12-17T16:14:04.042" v="1603" actId="207"/>
          <ac:picMkLst>
            <pc:docMk/>
            <pc:sldMk cId="700120364" sldId="2076138459"/>
            <ac:picMk id="7" creationId="{8B842544-BC5B-452E-A77D-CF5A58E95BCB}"/>
          </ac:picMkLst>
        </pc:picChg>
      </pc:sldChg>
      <pc:sldChg chg="addSp delSp modSp mod modShow">
        <pc:chgData name="Kirsch, Steven" userId="163fbdcd-b00d-40ec-a032-f23b1edd7073" providerId="ADAL" clId="{7699E2BA-1167-4F82-A917-E27C8DEC1E3B}" dt="2021-12-17T22:05:55.089" v="2874" actId="20577"/>
        <pc:sldMkLst>
          <pc:docMk/>
          <pc:sldMk cId="1313333293" sldId="2076138466"/>
        </pc:sldMkLst>
        <pc:spChg chg="mod">
          <ac:chgData name="Kirsch, Steven" userId="163fbdcd-b00d-40ec-a032-f23b1edd7073" providerId="ADAL" clId="{7699E2BA-1167-4F82-A917-E27C8DEC1E3B}" dt="2021-12-17T16:16:46.581" v="1624" actId="20577"/>
          <ac:spMkLst>
            <pc:docMk/>
            <pc:sldMk cId="1313333293" sldId="2076138466"/>
            <ac:spMk id="2" creationId="{AD960C2D-BDCE-4640-AB03-D29BE4DED855}"/>
          </ac:spMkLst>
        </pc:spChg>
        <pc:spChg chg="del">
          <ac:chgData name="Kirsch, Steven" userId="163fbdcd-b00d-40ec-a032-f23b1edd7073" providerId="ADAL" clId="{7699E2BA-1167-4F82-A917-E27C8DEC1E3B}" dt="2021-12-17T16:19:34.996" v="1653" actId="478"/>
          <ac:spMkLst>
            <pc:docMk/>
            <pc:sldMk cId="1313333293" sldId="2076138466"/>
            <ac:spMk id="3" creationId="{D5A0701D-C507-4392-A57D-0C0F136BCD69}"/>
          </ac:spMkLst>
        </pc:spChg>
        <pc:spChg chg="add del mod">
          <ac:chgData name="Kirsch, Steven" userId="163fbdcd-b00d-40ec-a032-f23b1edd7073" providerId="ADAL" clId="{7699E2BA-1167-4F82-A917-E27C8DEC1E3B}" dt="2021-12-17T16:20:01.433" v="1687" actId="478"/>
          <ac:spMkLst>
            <pc:docMk/>
            <pc:sldMk cId="1313333293" sldId="2076138466"/>
            <ac:spMk id="5" creationId="{95F35B95-E07E-4C5F-BB67-8A5BA6305938}"/>
          </ac:spMkLst>
        </pc:spChg>
        <pc:spChg chg="add del mod">
          <ac:chgData name="Kirsch, Steven" userId="163fbdcd-b00d-40ec-a032-f23b1edd7073" providerId="ADAL" clId="{7699E2BA-1167-4F82-A917-E27C8DEC1E3B}" dt="2021-12-17T16:07:06.670" v="1463"/>
          <ac:spMkLst>
            <pc:docMk/>
            <pc:sldMk cId="1313333293" sldId="2076138466"/>
            <ac:spMk id="6" creationId="{78C2A35E-87A8-4DE9-8D64-2DDDA6A56F68}"/>
          </ac:spMkLst>
        </pc:spChg>
        <pc:spChg chg="add del mod">
          <ac:chgData name="Kirsch, Steven" userId="163fbdcd-b00d-40ec-a032-f23b1edd7073" providerId="ADAL" clId="{7699E2BA-1167-4F82-A917-E27C8DEC1E3B}" dt="2021-12-17T16:25:54.191" v="2294" actId="478"/>
          <ac:spMkLst>
            <pc:docMk/>
            <pc:sldMk cId="1313333293" sldId="2076138466"/>
            <ac:spMk id="7" creationId="{616D6360-1661-418A-9724-A0CDD1214F2E}"/>
          </ac:spMkLst>
        </pc:spChg>
        <pc:spChg chg="add del mod">
          <ac:chgData name="Kirsch, Steven" userId="163fbdcd-b00d-40ec-a032-f23b1edd7073" providerId="ADAL" clId="{7699E2BA-1167-4F82-A917-E27C8DEC1E3B}" dt="2021-12-17T16:19:37.925" v="1654" actId="478"/>
          <ac:spMkLst>
            <pc:docMk/>
            <pc:sldMk cId="1313333293" sldId="2076138466"/>
            <ac:spMk id="9" creationId="{FCE85A79-59B3-4F46-93BF-A1090AF29AEB}"/>
          </ac:spMkLst>
        </pc:spChg>
        <pc:spChg chg="add mod">
          <ac:chgData name="Kirsch, Steven" userId="163fbdcd-b00d-40ec-a032-f23b1edd7073" providerId="ADAL" clId="{7699E2BA-1167-4F82-A917-E27C8DEC1E3B}" dt="2021-12-17T16:31:22.027" v="2552" actId="20577"/>
          <ac:spMkLst>
            <pc:docMk/>
            <pc:sldMk cId="1313333293" sldId="2076138466"/>
            <ac:spMk id="10" creationId="{64F0CC29-E273-4D7C-943F-8389D1B2A760}"/>
          </ac:spMkLst>
        </pc:spChg>
        <pc:spChg chg="add mod">
          <ac:chgData name="Kirsch, Steven" userId="163fbdcd-b00d-40ec-a032-f23b1edd7073" providerId="ADAL" clId="{7699E2BA-1167-4F82-A917-E27C8DEC1E3B}" dt="2021-12-17T16:23:40.653" v="1995" actId="1076"/>
          <ac:spMkLst>
            <pc:docMk/>
            <pc:sldMk cId="1313333293" sldId="2076138466"/>
            <ac:spMk id="11" creationId="{8ADCBB6E-68B4-4362-A12C-0DD2809AF5BA}"/>
          </ac:spMkLst>
        </pc:spChg>
        <pc:spChg chg="add del mod">
          <ac:chgData name="Kirsch, Steven" userId="163fbdcd-b00d-40ec-a032-f23b1edd7073" providerId="ADAL" clId="{7699E2BA-1167-4F82-A917-E27C8DEC1E3B}" dt="2021-12-17T16:25:50.868" v="2293" actId="478"/>
          <ac:spMkLst>
            <pc:docMk/>
            <pc:sldMk cId="1313333293" sldId="2076138466"/>
            <ac:spMk id="12" creationId="{A03292FE-8920-43CB-93DA-E5B09CAC9910}"/>
          </ac:spMkLst>
        </pc:spChg>
        <pc:spChg chg="add mod">
          <ac:chgData name="Kirsch, Steven" userId="163fbdcd-b00d-40ec-a032-f23b1edd7073" providerId="ADAL" clId="{7699E2BA-1167-4F82-A917-E27C8DEC1E3B}" dt="2021-12-17T16:29:48.459" v="2495" actId="20577"/>
          <ac:spMkLst>
            <pc:docMk/>
            <pc:sldMk cId="1313333293" sldId="2076138466"/>
            <ac:spMk id="13" creationId="{DF71E28C-B391-4C8E-B474-753D0B968D60}"/>
          </ac:spMkLst>
        </pc:spChg>
        <pc:spChg chg="add mod">
          <ac:chgData name="Kirsch, Steven" userId="163fbdcd-b00d-40ec-a032-f23b1edd7073" providerId="ADAL" clId="{7699E2BA-1167-4F82-A917-E27C8DEC1E3B}" dt="2021-12-17T22:05:55.089" v="2874" actId="20577"/>
          <ac:spMkLst>
            <pc:docMk/>
            <pc:sldMk cId="1313333293" sldId="2076138466"/>
            <ac:spMk id="14" creationId="{FC79CA21-A725-42D3-AB42-FEDD67E5E312}"/>
          </ac:spMkLst>
        </pc:spChg>
        <pc:spChg chg="add mod">
          <ac:chgData name="Kirsch, Steven" userId="163fbdcd-b00d-40ec-a032-f23b1edd7073" providerId="ADAL" clId="{7699E2BA-1167-4F82-A917-E27C8DEC1E3B}" dt="2021-12-17T21:47:20.316" v="2723" actId="20577"/>
          <ac:spMkLst>
            <pc:docMk/>
            <pc:sldMk cId="1313333293" sldId="2076138466"/>
            <ac:spMk id="15" creationId="{24AA3244-4D4B-488F-9052-868D3205D3F4}"/>
          </ac:spMkLst>
        </pc:spChg>
        <pc:spChg chg="add mod">
          <ac:chgData name="Kirsch, Steven" userId="163fbdcd-b00d-40ec-a032-f23b1edd7073" providerId="ADAL" clId="{7699E2BA-1167-4F82-A917-E27C8DEC1E3B}" dt="2021-12-17T16:27:56.731" v="2441" actId="1076"/>
          <ac:spMkLst>
            <pc:docMk/>
            <pc:sldMk cId="1313333293" sldId="2076138466"/>
            <ac:spMk id="16" creationId="{A49CCF9E-8FD9-4F36-AEE0-D72298D4817A}"/>
          </ac:spMkLst>
        </pc:spChg>
        <pc:spChg chg="add del mod">
          <ac:chgData name="Kirsch, Steven" userId="163fbdcd-b00d-40ec-a032-f23b1edd7073" providerId="ADAL" clId="{7699E2BA-1167-4F82-A917-E27C8DEC1E3B}" dt="2021-12-17T16:28:56.370" v="2456" actId="478"/>
          <ac:spMkLst>
            <pc:docMk/>
            <pc:sldMk cId="1313333293" sldId="2076138466"/>
            <ac:spMk id="17" creationId="{64F02105-E256-43F1-8602-F54DA8555754}"/>
          </ac:spMkLst>
        </pc:spChg>
        <pc:spChg chg="add del mod">
          <ac:chgData name="Kirsch, Steven" userId="163fbdcd-b00d-40ec-a032-f23b1edd7073" providerId="ADAL" clId="{7699E2BA-1167-4F82-A917-E27C8DEC1E3B}" dt="2021-12-17T16:28:49.772" v="2454" actId="478"/>
          <ac:spMkLst>
            <pc:docMk/>
            <pc:sldMk cId="1313333293" sldId="2076138466"/>
            <ac:spMk id="18" creationId="{EECF671A-0E1F-4E2C-9CCE-7829E5FEC112}"/>
          </ac:spMkLst>
        </pc:spChg>
        <pc:spChg chg="add mod">
          <ac:chgData name="Kirsch, Steven" userId="163fbdcd-b00d-40ec-a032-f23b1edd7073" providerId="ADAL" clId="{7699E2BA-1167-4F82-A917-E27C8DEC1E3B}" dt="2021-12-17T16:29:18.240" v="2467" actId="1037"/>
          <ac:spMkLst>
            <pc:docMk/>
            <pc:sldMk cId="1313333293" sldId="2076138466"/>
            <ac:spMk id="19" creationId="{0BE94FA6-4768-44ED-9614-FFF0E10EAF4C}"/>
          </ac:spMkLst>
        </pc:spChg>
        <pc:spChg chg="add mod">
          <ac:chgData name="Kirsch, Steven" userId="163fbdcd-b00d-40ec-a032-f23b1edd7073" providerId="ADAL" clId="{7699E2BA-1167-4F82-A917-E27C8DEC1E3B}" dt="2021-12-17T16:29:18.240" v="2467" actId="1037"/>
          <ac:spMkLst>
            <pc:docMk/>
            <pc:sldMk cId="1313333293" sldId="2076138466"/>
            <ac:spMk id="20" creationId="{2616A49D-A981-4DD5-8C45-B3AC0AD742BB}"/>
          </ac:spMkLst>
        </pc:spChg>
      </pc:sldChg>
      <pc:sldChg chg="addSp modSp new del mod">
        <pc:chgData name="Kirsch, Steven" userId="163fbdcd-b00d-40ec-a032-f23b1edd7073" providerId="ADAL" clId="{7699E2BA-1167-4F82-A917-E27C8DEC1E3B}" dt="2021-12-17T16:04:37.527" v="1454" actId="47"/>
        <pc:sldMkLst>
          <pc:docMk/>
          <pc:sldMk cId="2767822001" sldId="2076138478"/>
        </pc:sldMkLst>
        <pc:spChg chg="add mod">
          <ac:chgData name="Kirsch, Steven" userId="163fbdcd-b00d-40ec-a032-f23b1edd7073" providerId="ADAL" clId="{7699E2BA-1167-4F82-A917-E27C8DEC1E3B}" dt="2021-12-16T19:32:59.476" v="1008" actId="1076"/>
          <ac:spMkLst>
            <pc:docMk/>
            <pc:sldMk cId="2767822001" sldId="2076138478"/>
            <ac:spMk id="2" creationId="{50176959-676C-431C-B111-637B7F21AD14}"/>
          </ac:spMkLst>
        </pc:spChg>
      </pc:sldChg>
      <pc:sldChg chg="addSp delSp modSp mod ord">
        <pc:chgData name="Kirsch, Steven" userId="163fbdcd-b00d-40ec-a032-f23b1edd7073" providerId="ADAL" clId="{7699E2BA-1167-4F82-A917-E27C8DEC1E3B}" dt="2021-12-17T16:05:18.916" v="1456"/>
        <pc:sldMkLst>
          <pc:docMk/>
          <pc:sldMk cId="3087408706" sldId="2076138480"/>
        </pc:sldMkLst>
        <pc:spChg chg="del">
          <ac:chgData name="Kirsch, Steven" userId="163fbdcd-b00d-40ec-a032-f23b1edd7073" providerId="ADAL" clId="{7699E2BA-1167-4F82-A917-E27C8DEC1E3B}" dt="2021-12-17T15:47:36.548" v="1103" actId="478"/>
          <ac:spMkLst>
            <pc:docMk/>
            <pc:sldMk cId="3087408706" sldId="2076138480"/>
            <ac:spMk id="3" creationId="{BD40A970-BA99-4B84-B9B4-51B60213E776}"/>
          </ac:spMkLst>
        </pc:spChg>
        <pc:spChg chg="mod">
          <ac:chgData name="Kirsch, Steven" userId="163fbdcd-b00d-40ec-a032-f23b1edd7073" providerId="ADAL" clId="{7699E2BA-1167-4F82-A917-E27C8DEC1E3B}" dt="2021-12-17T15:43:45.706" v="1034" actId="20577"/>
          <ac:spMkLst>
            <pc:docMk/>
            <pc:sldMk cId="3087408706" sldId="2076138480"/>
            <ac:spMk id="4" creationId="{00000000-0000-0000-0000-000000000000}"/>
          </ac:spMkLst>
        </pc:spChg>
        <pc:spChg chg="add del">
          <ac:chgData name="Kirsch, Steven" userId="163fbdcd-b00d-40ec-a032-f23b1edd7073" providerId="ADAL" clId="{7699E2BA-1167-4F82-A917-E27C8DEC1E3B}" dt="2021-12-17T15:58:28.771" v="1255" actId="478"/>
          <ac:spMkLst>
            <pc:docMk/>
            <pc:sldMk cId="3087408706" sldId="2076138480"/>
            <ac:spMk id="9" creationId="{C2935046-8BF0-4609-B859-3E0C19A5D566}"/>
          </ac:spMkLst>
        </pc:spChg>
        <pc:spChg chg="add del mod">
          <ac:chgData name="Kirsch, Steven" userId="163fbdcd-b00d-40ec-a032-f23b1edd7073" providerId="ADAL" clId="{7699E2BA-1167-4F82-A917-E27C8DEC1E3B}" dt="2021-12-17T15:58:27.477" v="1254" actId="478"/>
          <ac:spMkLst>
            <pc:docMk/>
            <pc:sldMk cId="3087408706" sldId="2076138480"/>
            <ac:spMk id="10" creationId="{BAF09E77-6715-4EB3-B5BA-67817F9F69B0}"/>
          </ac:spMkLst>
        </pc:spChg>
        <pc:spChg chg="mod">
          <ac:chgData name="Kirsch, Steven" userId="163fbdcd-b00d-40ec-a032-f23b1edd7073" providerId="ADAL" clId="{7699E2BA-1167-4F82-A917-E27C8DEC1E3B}" dt="2021-12-17T15:59:10.746" v="1414" actId="113"/>
          <ac:spMkLst>
            <pc:docMk/>
            <pc:sldMk cId="3087408706" sldId="2076138480"/>
            <ac:spMk id="11" creationId="{F280B2C5-7624-48CF-8749-F4E3121AC2C2}"/>
          </ac:spMkLst>
        </pc:spChg>
        <pc:spChg chg="add del mod">
          <ac:chgData name="Kirsch, Steven" userId="163fbdcd-b00d-40ec-a032-f23b1edd7073" providerId="ADAL" clId="{7699E2BA-1167-4F82-A917-E27C8DEC1E3B}" dt="2021-12-17T15:58:30.383" v="1256" actId="478"/>
          <ac:spMkLst>
            <pc:docMk/>
            <pc:sldMk cId="3087408706" sldId="2076138480"/>
            <ac:spMk id="12" creationId="{5566E497-F0C0-444E-99A1-DE9957A62F97}"/>
          </ac:spMkLst>
        </pc:spChg>
        <pc:spChg chg="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13" creationId="{7C3848BD-D91C-4DDB-BD21-97C67DCA643D}"/>
          </ac:spMkLst>
        </pc:spChg>
        <pc:spChg chg="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14" creationId="{DBB72897-5A1E-4E30-A407-9EACEFE91A3B}"/>
          </ac:spMkLst>
        </pc:spChg>
        <pc:spChg chg="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15" creationId="{9DDBC192-3D79-4F87-999A-ED5E5BBEBA6A}"/>
          </ac:spMkLst>
        </pc:spChg>
        <pc:spChg chg="add del mod">
          <ac:chgData name="Kirsch, Steven" userId="163fbdcd-b00d-40ec-a032-f23b1edd7073" providerId="ADAL" clId="{7699E2BA-1167-4F82-A917-E27C8DEC1E3B}" dt="2021-12-17T15:58:25.518" v="1253" actId="478"/>
          <ac:spMkLst>
            <pc:docMk/>
            <pc:sldMk cId="3087408706" sldId="2076138480"/>
            <ac:spMk id="16" creationId="{D88B083A-77A2-4F5C-BC0A-534A7BC455DF}"/>
          </ac:spMkLst>
        </pc:spChg>
        <pc:spChg chg="del">
          <ac:chgData name="Kirsch, Steven" userId="163fbdcd-b00d-40ec-a032-f23b1edd7073" providerId="ADAL" clId="{7699E2BA-1167-4F82-A917-E27C8DEC1E3B}" dt="2021-12-17T15:47:39.004" v="1104" actId="478"/>
          <ac:spMkLst>
            <pc:docMk/>
            <pc:sldMk cId="3087408706" sldId="2076138480"/>
            <ac:spMk id="17" creationId="{BD04186B-6D52-44B1-AF95-39949215D2F1}"/>
          </ac:spMkLst>
        </pc:spChg>
        <pc:spChg chg="del">
          <ac:chgData name="Kirsch, Steven" userId="163fbdcd-b00d-40ec-a032-f23b1edd7073" providerId="ADAL" clId="{7699E2BA-1167-4F82-A917-E27C8DEC1E3B}" dt="2021-12-17T15:47:42.043" v="1105" actId="478"/>
          <ac:spMkLst>
            <pc:docMk/>
            <pc:sldMk cId="3087408706" sldId="2076138480"/>
            <ac:spMk id="18" creationId="{4CD17411-20C1-47C0-A39E-A86208CE3F12}"/>
          </ac:spMkLst>
        </pc:spChg>
        <pc:spChg chg="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20" creationId="{74A57891-0C90-4A6E-8B3D-7FDEA694B60D}"/>
          </ac:spMkLst>
        </pc:spChg>
        <pc:spChg chg="add 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24" creationId="{D1C61E96-CAAB-4A05-9830-A8A0968CFF71}"/>
          </ac:spMkLst>
        </pc:spChg>
        <pc:spChg chg="add mod">
          <ac:chgData name="Kirsch, Steven" userId="163fbdcd-b00d-40ec-a032-f23b1edd7073" providerId="ADAL" clId="{7699E2BA-1167-4F82-A917-E27C8DEC1E3B}" dt="2021-12-17T16:03:36.314" v="1449" actId="1076"/>
          <ac:spMkLst>
            <pc:docMk/>
            <pc:sldMk cId="3087408706" sldId="2076138480"/>
            <ac:spMk id="25" creationId="{18DF6129-C212-4D7D-AF38-5E370737F8D4}"/>
          </ac:spMkLst>
        </pc:spChg>
        <pc:spChg chg="mod">
          <ac:chgData name="Kirsch, Steven" userId="163fbdcd-b00d-40ec-a032-f23b1edd7073" providerId="ADAL" clId="{7699E2BA-1167-4F82-A917-E27C8DEC1E3B}" dt="2021-12-17T15:49:52.146" v="1140" actId="6549"/>
          <ac:spMkLst>
            <pc:docMk/>
            <pc:sldMk cId="3087408706" sldId="2076138480"/>
            <ac:spMk id="30" creationId="{1C4952D2-589A-40A5-AA13-7D04D8EDB774}"/>
          </ac:spMkLst>
        </pc:spChg>
        <pc:spChg chg="mod">
          <ac:chgData name="Kirsch, Steven" userId="163fbdcd-b00d-40ec-a032-f23b1edd7073" providerId="ADAL" clId="{7699E2BA-1167-4F82-A917-E27C8DEC1E3B}" dt="2021-12-17T15:49:54.400" v="1141" actId="6549"/>
          <ac:spMkLst>
            <pc:docMk/>
            <pc:sldMk cId="3087408706" sldId="2076138480"/>
            <ac:spMk id="31" creationId="{5BC50533-2DC5-477F-8955-B76A74C4A93A}"/>
          </ac:spMkLst>
        </pc:spChg>
        <pc:grpChg chg="mod">
          <ac:chgData name="Kirsch, Steven" userId="163fbdcd-b00d-40ec-a032-f23b1edd7073" providerId="ADAL" clId="{7699E2BA-1167-4F82-A917-E27C8DEC1E3B}" dt="2021-12-17T16:03:36.314" v="1449" actId="1076"/>
          <ac:grpSpMkLst>
            <pc:docMk/>
            <pc:sldMk cId="3087408706" sldId="2076138480"/>
            <ac:grpSpMk id="28" creationId="{19A517A1-6BD5-44CC-B9E0-8BB11965716C}"/>
          </ac:grpSpMkLst>
        </pc:grpChg>
        <pc:picChg chg="add del mod">
          <ac:chgData name="Kirsch, Steven" userId="163fbdcd-b00d-40ec-a032-f23b1edd7073" providerId="ADAL" clId="{7699E2BA-1167-4F82-A917-E27C8DEC1E3B}" dt="2021-12-17T16:01:36.675" v="1432" actId="478"/>
          <ac:picMkLst>
            <pc:docMk/>
            <pc:sldMk cId="3087408706" sldId="2076138480"/>
            <ac:picMk id="6" creationId="{D60CE197-01E5-4835-B620-D434A3413E51}"/>
          </ac:picMkLst>
        </pc:picChg>
        <pc:picChg chg="add del mod">
          <ac:chgData name="Kirsch, Steven" userId="163fbdcd-b00d-40ec-a032-f23b1edd7073" providerId="ADAL" clId="{7699E2BA-1167-4F82-A917-E27C8DEC1E3B}" dt="2021-12-17T16:00:58.295" v="1423" actId="478"/>
          <ac:picMkLst>
            <pc:docMk/>
            <pc:sldMk cId="3087408706" sldId="2076138480"/>
            <ac:picMk id="8" creationId="{3DE03230-6657-4DF8-A9B6-BBB6C71507F3}"/>
          </ac:picMkLst>
        </pc:picChg>
        <pc:picChg chg="add del mod">
          <ac:chgData name="Kirsch, Steven" userId="163fbdcd-b00d-40ec-a032-f23b1edd7073" providerId="ADAL" clId="{7699E2BA-1167-4F82-A917-E27C8DEC1E3B}" dt="2021-12-17T16:00:59.460" v="1424" actId="478"/>
          <ac:picMkLst>
            <pc:docMk/>
            <pc:sldMk cId="3087408706" sldId="2076138480"/>
            <ac:picMk id="21" creationId="{00D84053-2552-4429-857C-AB89F862C5DB}"/>
          </ac:picMkLst>
        </pc:picChg>
        <pc:picChg chg="add mod">
          <ac:chgData name="Kirsch, Steven" userId="163fbdcd-b00d-40ec-a032-f23b1edd7073" providerId="ADAL" clId="{7699E2BA-1167-4F82-A917-E27C8DEC1E3B}" dt="2021-12-17T16:03:51.727" v="1451" actId="207"/>
          <ac:picMkLst>
            <pc:docMk/>
            <pc:sldMk cId="3087408706" sldId="2076138480"/>
            <ac:picMk id="23" creationId="{C603FE93-8922-4468-A399-01FF5E57D041}"/>
          </ac:picMkLst>
        </pc:picChg>
        <pc:picChg chg="add del mod">
          <ac:chgData name="Kirsch, Steven" userId="163fbdcd-b00d-40ec-a032-f23b1edd7073" providerId="ADAL" clId="{7699E2BA-1167-4F82-A917-E27C8DEC1E3B}" dt="2021-12-17T16:04:17.753" v="1453" actId="478"/>
          <ac:picMkLst>
            <pc:docMk/>
            <pc:sldMk cId="3087408706" sldId="2076138480"/>
            <ac:picMk id="27" creationId="{640F769E-4460-4C4F-BDBF-B96508A1861F}"/>
          </ac:picMkLst>
        </pc:picChg>
        <pc:picChg chg="add mod">
          <ac:chgData name="Kirsch, Steven" userId="163fbdcd-b00d-40ec-a032-f23b1edd7073" providerId="ADAL" clId="{7699E2BA-1167-4F82-A917-E27C8DEC1E3B}" dt="2021-12-17T16:03:46.205" v="1450" actId="207"/>
          <ac:picMkLst>
            <pc:docMk/>
            <pc:sldMk cId="3087408706" sldId="2076138480"/>
            <ac:picMk id="33" creationId="{89A7ABF0-3E0F-48BC-9FF4-B56FDBF4F11B}"/>
          </ac:picMkLst>
        </pc:picChg>
        <pc:picChg chg="add mod">
          <ac:chgData name="Kirsch, Steven" userId="163fbdcd-b00d-40ec-a032-f23b1edd7073" providerId="ADAL" clId="{7699E2BA-1167-4F82-A917-E27C8DEC1E3B}" dt="2021-12-17T16:04:04.809" v="1452" actId="207"/>
          <ac:picMkLst>
            <pc:docMk/>
            <pc:sldMk cId="3087408706" sldId="2076138480"/>
            <ac:picMk id="35" creationId="{9C5531BB-7AC7-414B-B2BA-2E0FA8F2C9D0}"/>
          </ac:picMkLst>
        </pc:picChg>
      </pc:sldChg>
      <pc:sldChg chg="modSp add mod">
        <pc:chgData name="Kirsch, Steven" userId="163fbdcd-b00d-40ec-a032-f23b1edd7073" providerId="ADAL" clId="{7699E2BA-1167-4F82-A917-E27C8DEC1E3B}" dt="2021-12-17T16:38:20.911" v="2646" actId="207"/>
        <pc:sldMkLst>
          <pc:docMk/>
          <pc:sldMk cId="1740297500" sldId="2076138482"/>
        </pc:sldMkLst>
        <pc:spChg chg="mod">
          <ac:chgData name="Kirsch, Steven" userId="163fbdcd-b00d-40ec-a032-f23b1edd7073" providerId="ADAL" clId="{7699E2BA-1167-4F82-A917-E27C8DEC1E3B}" dt="2021-12-17T16:38:20.911" v="2646" actId="207"/>
          <ac:spMkLst>
            <pc:docMk/>
            <pc:sldMk cId="1740297500" sldId="2076138482"/>
            <ac:spMk id="20" creationId="{74A57891-0C90-4A6E-8B3D-7FDEA694B60D}"/>
          </ac:spMkLst>
        </pc:spChg>
      </pc:sldChg>
    </pc:docChg>
  </pc:docChgLst>
  <pc:docChgLst>
    <pc:chgData name="Keeley, Nicholas" userId="S::ngk3pf@darden.virginia.edu::5b78af47-e2a4-49e4-b4cb-5c146ed0194b" providerId="AD" clId="Web-{DDF8AF6F-AD14-4541-945C-D410D2B6EFA4}"/>
    <pc:docChg chg="modSld">
      <pc:chgData name="Keeley, Nicholas" userId="S::ngk3pf@darden.virginia.edu::5b78af47-e2a4-49e4-b4cb-5c146ed0194b" providerId="AD" clId="Web-{DDF8AF6F-AD14-4541-945C-D410D2B6EFA4}" dt="2021-12-17T17:38:20.334" v="95" actId="20577"/>
      <pc:docMkLst>
        <pc:docMk/>
      </pc:docMkLst>
      <pc:sldChg chg="modSp">
        <pc:chgData name="Keeley, Nicholas" userId="S::ngk3pf@darden.virginia.edu::5b78af47-e2a4-49e4-b4cb-5c146ed0194b" providerId="AD" clId="Web-{DDF8AF6F-AD14-4541-945C-D410D2B6EFA4}" dt="2021-12-17T17:36:04.751" v="4" actId="20577"/>
        <pc:sldMkLst>
          <pc:docMk/>
          <pc:sldMk cId="0" sldId="263"/>
        </pc:sldMkLst>
        <pc:spChg chg="mod">
          <ac:chgData name="Keeley, Nicholas" userId="S::ngk3pf@darden.virginia.edu::5b78af47-e2a4-49e4-b4cb-5c146ed0194b" providerId="AD" clId="Web-{DDF8AF6F-AD14-4541-945C-D410D2B6EFA4}" dt="2021-12-17T17:36:04.751" v="4" actId="20577"/>
          <ac:spMkLst>
            <pc:docMk/>
            <pc:sldMk cId="0" sldId="263"/>
            <ac:spMk id="166" creationId="{00000000-0000-0000-0000-000000000000}"/>
          </ac:spMkLst>
        </pc:spChg>
      </pc:sldChg>
      <pc:sldChg chg="modSp">
        <pc:chgData name="Keeley, Nicholas" userId="S::ngk3pf@darden.virginia.edu::5b78af47-e2a4-49e4-b4cb-5c146ed0194b" providerId="AD" clId="Web-{DDF8AF6F-AD14-4541-945C-D410D2B6EFA4}" dt="2021-12-17T17:38:20.334" v="95" actId="20577"/>
        <pc:sldMkLst>
          <pc:docMk/>
          <pc:sldMk cId="572379146" sldId="2076138481"/>
        </pc:sldMkLst>
        <pc:spChg chg="mod">
          <ac:chgData name="Keeley, Nicholas" userId="S::ngk3pf@darden.virginia.edu::5b78af47-e2a4-49e4-b4cb-5c146ed0194b" providerId="AD" clId="Web-{DDF8AF6F-AD14-4541-945C-D410D2B6EFA4}" dt="2021-12-17T17:38:20.334" v="95" actId="20577"/>
          <ac:spMkLst>
            <pc:docMk/>
            <pc:sldMk cId="572379146" sldId="2076138481"/>
            <ac:spMk id="5" creationId="{8B9BD1F5-3D8A-2E45-8092-F4C82A8D8223}"/>
          </ac:spMkLst>
        </pc:spChg>
        <pc:graphicFrameChg chg="modGraphic">
          <ac:chgData name="Keeley, Nicholas" userId="S::ngk3pf@darden.virginia.edu::5b78af47-e2a4-49e4-b4cb-5c146ed0194b" providerId="AD" clId="Web-{DDF8AF6F-AD14-4541-945C-D410D2B6EFA4}" dt="2021-12-17T17:37:09.066" v="17" actId="20577"/>
          <ac:graphicFrameMkLst>
            <pc:docMk/>
            <pc:sldMk cId="572379146" sldId="2076138481"/>
            <ac:graphicFrameMk id="4" creationId="{5083808D-4608-5942-8802-93260A22245D}"/>
          </ac:graphicFrameMkLst>
        </pc:graphicFrameChg>
      </pc:sldChg>
    </pc:docChg>
  </pc:docChgLst>
  <pc:docChgLst>
    <pc:chgData name="Keeley, Nicholas" userId="5b78af47-e2a4-49e4-b4cb-5c146ed0194b" providerId="ADAL" clId="{96B011B6-AD0A-4F42-85D3-06629087B6FE}"/>
    <pc:docChg chg="undo custSel addSld delSld modSld">
      <pc:chgData name="Keeley, Nicholas" userId="5b78af47-e2a4-49e4-b4cb-5c146ed0194b" providerId="ADAL" clId="{96B011B6-AD0A-4F42-85D3-06629087B6FE}" dt="2021-12-17T15:15:59.185" v="1656" actId="1038"/>
      <pc:docMkLst>
        <pc:docMk/>
      </pc:docMkLst>
      <pc:sldChg chg="addSp modSp del mod setBg">
        <pc:chgData name="Keeley, Nicholas" userId="5b78af47-e2a4-49e4-b4cb-5c146ed0194b" providerId="ADAL" clId="{96B011B6-AD0A-4F42-85D3-06629087B6FE}" dt="2021-12-17T15:02:45.180" v="953" actId="2696"/>
        <pc:sldMkLst>
          <pc:docMk/>
          <pc:sldMk cId="1200754142" sldId="2076138476"/>
        </pc:sldMkLst>
        <pc:spChg chg="add">
          <ac:chgData name="Keeley, Nicholas" userId="5b78af47-e2a4-49e4-b4cb-5c146ed0194b" providerId="ADAL" clId="{96B011B6-AD0A-4F42-85D3-06629087B6FE}" dt="2021-12-17T14:58:58.015" v="878" actId="26606"/>
          <ac:spMkLst>
            <pc:docMk/>
            <pc:sldMk cId="1200754142" sldId="2076138476"/>
            <ac:spMk id="132" creationId="{2B566528-1B12-4246-9431-5C2D7D081168}"/>
          </ac:spMkLst>
        </pc:spChg>
        <pc:spChg chg="mod">
          <ac:chgData name="Keeley, Nicholas" userId="5b78af47-e2a4-49e4-b4cb-5c146ed0194b" providerId="ADAL" clId="{96B011B6-AD0A-4F42-85D3-06629087B6FE}" dt="2021-12-17T14:58:58.015" v="878" actId="26606"/>
          <ac:spMkLst>
            <pc:docMk/>
            <pc:sldMk cId="1200754142" sldId="2076138476"/>
            <ac:spMk id="511" creationId="{00000000-0000-0000-0000-000000000000}"/>
          </ac:spMkLst>
        </pc:spChg>
        <pc:grpChg chg="add">
          <ac:chgData name="Keeley, Nicholas" userId="5b78af47-e2a4-49e4-b4cb-5c146ed0194b" providerId="ADAL" clId="{96B011B6-AD0A-4F42-85D3-06629087B6FE}" dt="2021-12-17T14:58:58.015" v="878" actId="26606"/>
          <ac:grpSpMkLst>
            <pc:docMk/>
            <pc:sldMk cId="1200754142" sldId="2076138476"/>
            <ac:grpSpMk id="134" creationId="{828A5161-06F1-46CF-8AD7-844680A59E13}"/>
          </ac:grpSpMkLst>
        </pc:grpChg>
        <pc:grpChg chg="add">
          <ac:chgData name="Keeley, Nicholas" userId="5b78af47-e2a4-49e4-b4cb-5c146ed0194b" providerId="ADAL" clId="{96B011B6-AD0A-4F42-85D3-06629087B6FE}" dt="2021-12-17T14:58:58.015" v="878" actId="26606"/>
          <ac:grpSpMkLst>
            <pc:docMk/>
            <pc:sldMk cId="1200754142" sldId="2076138476"/>
            <ac:grpSpMk id="138" creationId="{5995D10D-E9C9-47DB-AE7E-801FEF38F5C9}"/>
          </ac:grpSpMkLst>
        </pc:grpChg>
        <pc:graphicFrameChg chg="add mod ord modGraphic">
          <ac:chgData name="Keeley, Nicholas" userId="5b78af47-e2a4-49e4-b4cb-5c146ed0194b" providerId="ADAL" clId="{96B011B6-AD0A-4F42-85D3-06629087B6FE}" dt="2021-12-17T14:58:58.015" v="878" actId="26606"/>
          <ac:graphicFrameMkLst>
            <pc:docMk/>
            <pc:sldMk cId="1200754142" sldId="2076138476"/>
            <ac:graphicFrameMk id="2" creationId="{84C2BFD7-DD7B-ED4C-96C6-7A038B28DA82}"/>
          </ac:graphicFrameMkLst>
        </pc:graphicFrameChg>
        <pc:picChg chg="add mod">
          <ac:chgData name="Keeley, Nicholas" userId="5b78af47-e2a4-49e4-b4cb-5c146ed0194b" providerId="ADAL" clId="{96B011B6-AD0A-4F42-85D3-06629087B6FE}" dt="2021-12-17T14:58:58.015" v="878" actId="26606"/>
          <ac:picMkLst>
            <pc:docMk/>
            <pc:sldMk cId="1200754142" sldId="2076138476"/>
            <ac:picMk id="3" creationId="{03CC17E7-92B2-9647-801A-58DAD1287401}"/>
          </ac:picMkLst>
        </pc:picChg>
      </pc:sldChg>
      <pc:sldChg chg="addSp delSp modSp add mod">
        <pc:chgData name="Keeley, Nicholas" userId="5b78af47-e2a4-49e4-b4cb-5c146ed0194b" providerId="ADAL" clId="{96B011B6-AD0A-4F42-85D3-06629087B6FE}" dt="2021-12-17T15:15:59.185" v="1656" actId="1038"/>
        <pc:sldMkLst>
          <pc:docMk/>
          <pc:sldMk cId="572379146" sldId="2076138481"/>
        </pc:sldMkLst>
        <pc:spChg chg="add mod">
          <ac:chgData name="Keeley, Nicholas" userId="5b78af47-e2a4-49e4-b4cb-5c146ed0194b" providerId="ADAL" clId="{96B011B6-AD0A-4F42-85D3-06629087B6FE}" dt="2021-12-17T15:15:59.185" v="1656" actId="1038"/>
          <ac:spMkLst>
            <pc:docMk/>
            <pc:sldMk cId="572379146" sldId="2076138481"/>
            <ac:spMk id="5" creationId="{8B9BD1F5-3D8A-2E45-8092-F4C82A8D8223}"/>
          </ac:spMkLst>
        </pc:spChg>
        <pc:spChg chg="mod">
          <ac:chgData name="Keeley, Nicholas" userId="5b78af47-e2a4-49e4-b4cb-5c146ed0194b" providerId="ADAL" clId="{96B011B6-AD0A-4F42-85D3-06629087B6FE}" dt="2021-12-17T15:02:28.686" v="928" actId="20577"/>
          <ac:spMkLst>
            <pc:docMk/>
            <pc:sldMk cId="572379146" sldId="2076138481"/>
            <ac:spMk id="511" creationId="{00000000-0000-0000-0000-000000000000}"/>
          </ac:spMkLst>
        </pc:spChg>
        <pc:graphicFrameChg chg="add mod">
          <ac:chgData name="Keeley, Nicholas" userId="5b78af47-e2a4-49e4-b4cb-5c146ed0194b" providerId="ADAL" clId="{96B011B6-AD0A-4F42-85D3-06629087B6FE}" dt="2021-12-17T15:13:02.364" v="1437" actId="14100"/>
          <ac:graphicFrameMkLst>
            <pc:docMk/>
            <pc:sldMk cId="572379146" sldId="2076138481"/>
            <ac:graphicFrameMk id="4" creationId="{5083808D-4608-5942-8802-93260A22245D}"/>
          </ac:graphicFrameMkLst>
        </pc:graphicFrameChg>
        <pc:picChg chg="add mod">
          <ac:chgData name="Keeley, Nicholas" userId="5b78af47-e2a4-49e4-b4cb-5c146ed0194b" providerId="ADAL" clId="{96B011B6-AD0A-4F42-85D3-06629087B6FE}" dt="2021-12-17T15:11:54.775" v="1387" actId="1038"/>
          <ac:picMkLst>
            <pc:docMk/>
            <pc:sldMk cId="572379146" sldId="2076138481"/>
            <ac:picMk id="2" creationId="{9CAE22A9-AFBF-3845-AD32-05F85D10DE09}"/>
          </ac:picMkLst>
        </pc:picChg>
        <pc:picChg chg="add del mod">
          <ac:chgData name="Keeley, Nicholas" userId="5b78af47-e2a4-49e4-b4cb-5c146ed0194b" providerId="ADAL" clId="{96B011B6-AD0A-4F42-85D3-06629087B6FE}" dt="2021-12-17T15:06:17.781" v="988" actId="478"/>
          <ac:picMkLst>
            <pc:docMk/>
            <pc:sldMk cId="572379146" sldId="2076138481"/>
            <ac:picMk id="3" creationId="{CA44CE8B-8B4C-AC40-9EA5-F74C0E35A640}"/>
          </ac:picMkLst>
        </pc:picChg>
      </pc:sldChg>
    </pc:docChg>
  </pc:docChgLst>
  <pc:docChgLst>
    <pc:chgData name="Campbell, Nicholas" userId="S::nac6r@darden.virginia.edu::eab02903-efb6-4393-b6b0-1ae6c92292b7" providerId="AD" clId="Web-{9A9D8430-7D56-4007-B2F0-86CDA9F87D17}"/>
    <pc:docChg chg="addSld modSld sldOrd">
      <pc:chgData name="Campbell, Nicholas" userId="S::nac6r@darden.virginia.edu::eab02903-efb6-4393-b6b0-1ae6c92292b7" providerId="AD" clId="Web-{9A9D8430-7D56-4007-B2F0-86CDA9F87D17}" dt="2021-12-17T21:38:16.262" v="264" actId="20577"/>
      <pc:docMkLst>
        <pc:docMk/>
      </pc:docMkLst>
      <pc:sldChg chg="ord">
        <pc:chgData name="Campbell, Nicholas" userId="S::nac6r@darden.virginia.edu::eab02903-efb6-4393-b6b0-1ae6c92292b7" providerId="AD" clId="Web-{9A9D8430-7D56-4007-B2F0-86CDA9F87D17}" dt="2021-12-17T21:33:11.298" v="0"/>
        <pc:sldMkLst>
          <pc:docMk/>
          <pc:sldMk cId="572379146" sldId="2076138481"/>
        </pc:sldMkLst>
      </pc:sldChg>
      <pc:sldChg chg="addSp delSp modSp add replId">
        <pc:chgData name="Campbell, Nicholas" userId="S::nac6r@darden.virginia.edu::eab02903-efb6-4393-b6b0-1ae6c92292b7" providerId="AD" clId="Web-{9A9D8430-7D56-4007-B2F0-86CDA9F87D17}" dt="2021-12-17T21:38:16.262" v="264" actId="20577"/>
        <pc:sldMkLst>
          <pc:docMk/>
          <pc:sldMk cId="3556737562" sldId="2076138483"/>
        </pc:sldMkLst>
        <pc:spChg chg="mod">
          <ac:chgData name="Campbell, Nicholas" userId="S::nac6r@darden.virginia.edu::eab02903-efb6-4393-b6b0-1ae6c92292b7" providerId="AD" clId="Web-{9A9D8430-7D56-4007-B2F0-86CDA9F87D17}" dt="2021-12-17T21:34:26.254" v="29" actId="20577"/>
          <ac:spMkLst>
            <pc:docMk/>
            <pc:sldMk cId="3556737562" sldId="2076138483"/>
            <ac:spMk id="4" creationId="{00000000-0000-0000-0000-000000000000}"/>
          </ac:spMkLst>
        </pc:spChg>
        <pc:spChg chg="del">
          <ac:chgData name="Campbell, Nicholas" userId="S::nac6r@darden.virginia.edu::eab02903-efb6-4393-b6b0-1ae6c92292b7" providerId="AD" clId="Web-{9A9D8430-7D56-4007-B2F0-86CDA9F87D17}" dt="2021-12-17T21:33:19.830" v="2"/>
          <ac:spMkLst>
            <pc:docMk/>
            <pc:sldMk cId="3556737562" sldId="2076138483"/>
            <ac:spMk id="11" creationId="{F280B2C5-7624-48CF-8749-F4E3121AC2C2}"/>
          </ac:spMkLst>
        </pc:spChg>
        <pc:spChg chg="mod">
          <ac:chgData name="Campbell, Nicholas" userId="S::nac6r@darden.virginia.edu::eab02903-efb6-4393-b6b0-1ae6c92292b7" providerId="AD" clId="Web-{9A9D8430-7D56-4007-B2F0-86CDA9F87D17}" dt="2021-12-17T21:37:15.729" v="216" actId="1076"/>
          <ac:spMkLst>
            <pc:docMk/>
            <pc:sldMk cId="3556737562" sldId="2076138483"/>
            <ac:spMk id="13" creationId="{7C3848BD-D91C-4DDB-BD21-97C67DCA643D}"/>
          </ac:spMkLst>
        </pc:spChg>
        <pc:spChg chg="mod">
          <ac:chgData name="Campbell, Nicholas" userId="S::nac6r@darden.virginia.edu::eab02903-efb6-4393-b6b0-1ae6c92292b7" providerId="AD" clId="Web-{9A9D8430-7D56-4007-B2F0-86CDA9F87D17}" dt="2021-12-17T21:37:56.058" v="262" actId="1076"/>
          <ac:spMkLst>
            <pc:docMk/>
            <pc:sldMk cId="3556737562" sldId="2076138483"/>
            <ac:spMk id="14" creationId="{DBB72897-5A1E-4E30-A407-9EACEFE91A3B}"/>
          </ac:spMkLst>
        </pc:spChg>
        <pc:spChg chg="del">
          <ac:chgData name="Campbell, Nicholas" userId="S::nac6r@darden.virginia.edu::eab02903-efb6-4393-b6b0-1ae6c92292b7" providerId="AD" clId="Web-{9A9D8430-7D56-4007-B2F0-86CDA9F87D17}" dt="2021-12-17T21:33:21.486" v="3"/>
          <ac:spMkLst>
            <pc:docMk/>
            <pc:sldMk cId="3556737562" sldId="2076138483"/>
            <ac:spMk id="15" creationId="{9DDBC192-3D79-4F87-999A-ED5E5BBEBA6A}"/>
          </ac:spMkLst>
        </pc:spChg>
        <pc:spChg chg="del">
          <ac:chgData name="Campbell, Nicholas" userId="S::nac6r@darden.virginia.edu::eab02903-efb6-4393-b6b0-1ae6c92292b7" providerId="AD" clId="Web-{9A9D8430-7D56-4007-B2F0-86CDA9F87D17}" dt="2021-12-17T21:37:00.681" v="213"/>
          <ac:spMkLst>
            <pc:docMk/>
            <pc:sldMk cId="3556737562" sldId="2076138483"/>
            <ac:spMk id="17" creationId="{BD04186B-6D52-44B1-AF95-39949215D2F1}"/>
          </ac:spMkLst>
        </pc:spChg>
        <pc:spChg chg="del">
          <ac:chgData name="Campbell, Nicholas" userId="S::nac6r@darden.virginia.edu::eab02903-efb6-4393-b6b0-1ae6c92292b7" providerId="AD" clId="Web-{9A9D8430-7D56-4007-B2F0-86CDA9F87D17}" dt="2021-12-17T21:37:03.041" v="214"/>
          <ac:spMkLst>
            <pc:docMk/>
            <pc:sldMk cId="3556737562" sldId="2076138483"/>
            <ac:spMk id="18" creationId="{4CD17411-20C1-47C0-A39E-A86208CE3F12}"/>
          </ac:spMkLst>
        </pc:spChg>
        <pc:spChg chg="mod">
          <ac:chgData name="Campbell, Nicholas" userId="S::nac6r@darden.virginia.edu::eab02903-efb6-4393-b6b0-1ae6c92292b7" providerId="AD" clId="Web-{9A9D8430-7D56-4007-B2F0-86CDA9F87D17}" dt="2021-12-17T21:38:16.262" v="264" actId="20577"/>
          <ac:spMkLst>
            <pc:docMk/>
            <pc:sldMk cId="3556737562" sldId="2076138483"/>
            <ac:spMk id="20" creationId="{74A57891-0C90-4A6E-8B3D-7FDEA694B60D}"/>
          </ac:spMkLst>
        </pc:spChg>
        <pc:spChg chg="mod">
          <ac:chgData name="Campbell, Nicholas" userId="S::nac6r@darden.virginia.edu::eab02903-efb6-4393-b6b0-1ae6c92292b7" providerId="AD" clId="Web-{9A9D8430-7D56-4007-B2F0-86CDA9F87D17}" dt="2021-12-17T21:36:30.243" v="202" actId="20577"/>
          <ac:spMkLst>
            <pc:docMk/>
            <pc:sldMk cId="3556737562" sldId="2076138483"/>
            <ac:spMk id="30" creationId="{1C4952D2-589A-40A5-AA13-7D04D8EDB774}"/>
          </ac:spMkLst>
        </pc:spChg>
        <pc:spChg chg="add del mod">
          <ac:chgData name="Campbell, Nicholas" userId="S::nac6r@darden.virginia.edu::eab02903-efb6-4393-b6b0-1ae6c92292b7" providerId="AD" clId="Web-{9A9D8430-7D56-4007-B2F0-86CDA9F87D17}" dt="2021-12-17T21:34:14.050" v="17"/>
          <ac:spMkLst>
            <pc:docMk/>
            <pc:sldMk cId="3556737562" sldId="2076138483"/>
            <ac:spMk id="31" creationId="{5BC50533-2DC5-477F-8955-B76A74C4A93A}"/>
          </ac:spMkLst>
        </pc:spChg>
        <pc:grpChg chg="add del mod">
          <ac:chgData name="Campbell, Nicholas" userId="S::nac6r@darden.virginia.edu::eab02903-efb6-4393-b6b0-1ae6c92292b7" providerId="AD" clId="Web-{9A9D8430-7D56-4007-B2F0-86CDA9F87D17}" dt="2021-12-17T21:37:15.713" v="215" actId="1076"/>
          <ac:grpSpMkLst>
            <pc:docMk/>
            <pc:sldMk cId="3556737562" sldId="2076138483"/>
            <ac:grpSpMk id="28" creationId="{19A517A1-6BD5-44CC-B9E0-8BB11965716C}"/>
          </ac:grpSpMkLst>
        </pc:grpChg>
      </pc:sldChg>
    </pc:docChg>
  </pc:docChgLst>
  <pc:docChgLst>
    <pc:chgData name="Rosenstock, David" userId="0630889a-7007-47d2-8c1c-d553a13d3125" providerId="ADAL" clId="{FA120042-47B7-4BCF-9065-96F6408FBDFF}"/>
    <pc:docChg chg="undo redo custSel addSld delSld modSld sldOrd">
      <pc:chgData name="Rosenstock, David" userId="0630889a-7007-47d2-8c1c-d553a13d3125" providerId="ADAL" clId="{FA120042-47B7-4BCF-9065-96F6408FBDFF}" dt="2021-12-17T21:49:56.485" v="3575" actId="20577"/>
      <pc:docMkLst>
        <pc:docMk/>
      </pc:docMkLst>
      <pc:sldChg chg="del">
        <pc:chgData name="Rosenstock, David" userId="0630889a-7007-47d2-8c1c-d553a13d3125" providerId="ADAL" clId="{FA120042-47B7-4BCF-9065-96F6408FBDFF}" dt="2021-12-16T16:39:14.138" v="92" actId="47"/>
        <pc:sldMkLst>
          <pc:docMk/>
          <pc:sldMk cId="203921561" sldId="256"/>
        </pc:sldMkLst>
      </pc:sldChg>
      <pc:sldChg chg="mod ord modShow">
        <pc:chgData name="Rosenstock, David" userId="0630889a-7007-47d2-8c1c-d553a13d3125" providerId="ADAL" clId="{FA120042-47B7-4BCF-9065-96F6408FBDFF}" dt="2021-12-16T16:54:11.522" v="497" actId="729"/>
        <pc:sldMkLst>
          <pc:docMk/>
          <pc:sldMk cId="848527742" sldId="257"/>
        </pc:sldMkLst>
      </pc:sldChg>
      <pc:sldChg chg="modSp mod ord modShow">
        <pc:chgData name="Rosenstock, David" userId="0630889a-7007-47d2-8c1c-d553a13d3125" providerId="ADAL" clId="{FA120042-47B7-4BCF-9065-96F6408FBDFF}" dt="2021-12-16T16:54:11.522" v="497" actId="729"/>
        <pc:sldMkLst>
          <pc:docMk/>
          <pc:sldMk cId="4045745438" sldId="258"/>
        </pc:sldMkLst>
        <pc:spChg chg="mod">
          <ac:chgData name="Rosenstock, David" userId="0630889a-7007-47d2-8c1c-d553a13d3125" providerId="ADAL" clId="{FA120042-47B7-4BCF-9065-96F6408FBDFF}" dt="2021-12-15T02:15:29.497" v="27" actId="20577"/>
          <ac:spMkLst>
            <pc:docMk/>
            <pc:sldMk cId="4045745438" sldId="258"/>
            <ac:spMk id="3" creationId="{8E30DF72-ADBA-4A08-8059-AEF3ABF6BACA}"/>
          </ac:spMkLst>
        </pc:spChg>
      </pc:sldChg>
      <pc:sldChg chg="modSp mod ord modShow">
        <pc:chgData name="Rosenstock, David" userId="0630889a-7007-47d2-8c1c-d553a13d3125" providerId="ADAL" clId="{FA120042-47B7-4BCF-9065-96F6408FBDFF}" dt="2021-12-16T16:54:11.522" v="497" actId="729"/>
        <pc:sldMkLst>
          <pc:docMk/>
          <pc:sldMk cId="3078431255" sldId="259"/>
        </pc:sldMkLst>
        <pc:spChg chg="mod">
          <ac:chgData name="Rosenstock, David" userId="0630889a-7007-47d2-8c1c-d553a13d3125" providerId="ADAL" clId="{FA120042-47B7-4BCF-9065-96F6408FBDFF}" dt="2021-12-15T02:15:40.382" v="28"/>
          <ac:spMkLst>
            <pc:docMk/>
            <pc:sldMk cId="3078431255" sldId="259"/>
            <ac:spMk id="3" creationId="{AF1C4326-A0EA-45EC-B770-413639A517DD}"/>
          </ac:spMkLst>
        </pc:spChg>
      </pc:sldChg>
      <pc:sldChg chg="addSp delSp modSp add mod modNotesTx">
        <pc:chgData name="Rosenstock, David" userId="0630889a-7007-47d2-8c1c-d553a13d3125" providerId="ADAL" clId="{FA120042-47B7-4BCF-9065-96F6408FBDFF}" dt="2021-12-17T21:49:56.485" v="3575" actId="20577"/>
        <pc:sldMkLst>
          <pc:docMk/>
          <pc:sldMk cId="0" sldId="263"/>
        </pc:sldMkLst>
        <pc:spChg chg="add mod">
          <ac:chgData name="Rosenstock, David" userId="0630889a-7007-47d2-8c1c-d553a13d3125" providerId="ADAL" clId="{FA120042-47B7-4BCF-9065-96F6408FBDFF}" dt="2021-12-16T17:08:06.112" v="1534" actId="1037"/>
          <ac:spMkLst>
            <pc:docMk/>
            <pc:sldMk cId="0" sldId="263"/>
            <ac:spMk id="3" creationId="{3BFB8569-6BE8-4C3B-BCC2-DEBBD4008534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46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47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48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49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50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5.887" v="503" actId="478"/>
          <ac:spMkLst>
            <pc:docMk/>
            <pc:sldMk cId="0" sldId="263"/>
            <ac:spMk id="151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5:47.784" v="505" actId="478"/>
          <ac:spMkLst>
            <pc:docMk/>
            <pc:sldMk cId="0" sldId="263"/>
            <ac:spMk id="165" creationId="{00000000-0000-0000-0000-000000000000}"/>
          </ac:spMkLst>
        </pc:spChg>
        <pc:spChg chg="mod">
          <ac:chgData name="Rosenstock, David" userId="0630889a-7007-47d2-8c1c-d553a13d3125" providerId="ADAL" clId="{FA120042-47B7-4BCF-9065-96F6408FBDFF}" dt="2021-12-17T12:33:05.606" v="3352" actId="404"/>
          <ac:spMkLst>
            <pc:docMk/>
            <pc:sldMk cId="0" sldId="263"/>
            <ac:spMk id="166" creationId="{00000000-0000-0000-0000-000000000000}"/>
          </ac:spMkLst>
        </pc:spChg>
        <pc:graphicFrameChg chg="add del modGraphic">
          <ac:chgData name="Rosenstock, David" userId="0630889a-7007-47d2-8c1c-d553a13d3125" providerId="ADAL" clId="{FA120042-47B7-4BCF-9065-96F6408FBDFF}" dt="2021-12-16T16:57:13.572" v="528" actId="478"/>
          <ac:graphicFrameMkLst>
            <pc:docMk/>
            <pc:sldMk cId="0" sldId="263"/>
            <ac:graphicFrameMk id="2" creationId="{264C70A3-25C2-43A0-8234-CE531A6B2F21}"/>
          </ac:graphicFrameMkLst>
        </pc:graphicFrameChg>
        <pc:picChg chg="add mod">
          <ac:chgData name="Rosenstock, David" userId="0630889a-7007-47d2-8c1c-d553a13d3125" providerId="ADAL" clId="{FA120042-47B7-4BCF-9065-96F6408FBDFF}" dt="2021-12-16T17:08:06.112" v="1534" actId="1037"/>
          <ac:picMkLst>
            <pc:docMk/>
            <pc:sldMk cId="0" sldId="263"/>
            <ac:picMk id="17" creationId="{8062C0E8-1B15-488A-A2DA-2A4FFC771D9A}"/>
          </ac:picMkLst>
        </pc:pic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41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42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43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44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45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56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5:45.887" v="503" actId="478"/>
          <ac:cxnSpMkLst>
            <pc:docMk/>
            <pc:sldMk cId="0" sldId="263"/>
            <ac:cxnSpMk id="157" creationId="{00000000-0000-0000-0000-000000000000}"/>
          </ac:cxnSpMkLst>
        </pc:cxnChg>
      </pc:sldChg>
      <pc:sldChg chg="addSp delSp modSp add mod">
        <pc:chgData name="Rosenstock, David" userId="0630889a-7007-47d2-8c1c-d553a13d3125" providerId="ADAL" clId="{FA120042-47B7-4BCF-9065-96F6408FBDFF}" dt="2021-12-17T12:26:54.610" v="2848" actId="20577"/>
        <pc:sldMkLst>
          <pc:docMk/>
          <pc:sldMk cId="0" sldId="275"/>
        </pc:sldMkLst>
        <pc:spChg chg="del">
          <ac:chgData name="Rosenstock, David" userId="0630889a-7007-47d2-8c1c-d553a13d3125" providerId="ADAL" clId="{FA120042-47B7-4BCF-9065-96F6408FBDFF}" dt="2021-12-16T16:58:02.047" v="546" actId="478"/>
          <ac:spMkLst>
            <pc:docMk/>
            <pc:sldMk cId="0" sldId="275"/>
            <ac:spMk id="502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8:06.953" v="547" actId="478"/>
          <ac:spMkLst>
            <pc:docMk/>
            <pc:sldMk cId="0" sldId="275"/>
            <ac:spMk id="503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8:06.953" v="547" actId="478"/>
          <ac:spMkLst>
            <pc:docMk/>
            <pc:sldMk cId="0" sldId="275"/>
            <ac:spMk id="504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8:06.953" v="547" actId="478"/>
          <ac:spMkLst>
            <pc:docMk/>
            <pc:sldMk cId="0" sldId="275"/>
            <ac:spMk id="505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8:02.047" v="546" actId="478"/>
          <ac:spMkLst>
            <pc:docMk/>
            <pc:sldMk cId="0" sldId="275"/>
            <ac:spMk id="506" creationId="{00000000-0000-0000-0000-000000000000}"/>
          </ac:spMkLst>
        </pc:spChg>
        <pc:spChg chg="del">
          <ac:chgData name="Rosenstock, David" userId="0630889a-7007-47d2-8c1c-d553a13d3125" providerId="ADAL" clId="{FA120042-47B7-4BCF-9065-96F6408FBDFF}" dt="2021-12-16T16:58:06.953" v="547" actId="478"/>
          <ac:spMkLst>
            <pc:docMk/>
            <pc:sldMk cId="0" sldId="275"/>
            <ac:spMk id="507" creationId="{00000000-0000-0000-0000-000000000000}"/>
          </ac:spMkLst>
        </pc:spChg>
        <pc:spChg chg="mod">
          <ac:chgData name="Rosenstock, David" userId="0630889a-7007-47d2-8c1c-d553a13d3125" providerId="ADAL" clId="{FA120042-47B7-4BCF-9065-96F6408FBDFF}" dt="2021-12-16T16:57:59.073" v="545" actId="20577"/>
          <ac:spMkLst>
            <pc:docMk/>
            <pc:sldMk cId="0" sldId="275"/>
            <ac:spMk id="511" creationId="{00000000-0000-0000-0000-000000000000}"/>
          </ac:spMkLst>
        </pc:spChg>
        <pc:graphicFrameChg chg="add mod modGraphic">
          <ac:chgData name="Rosenstock, David" userId="0630889a-7007-47d2-8c1c-d553a13d3125" providerId="ADAL" clId="{FA120042-47B7-4BCF-9065-96F6408FBDFF}" dt="2021-12-17T12:26:54.610" v="2848" actId="20577"/>
          <ac:graphicFrameMkLst>
            <pc:docMk/>
            <pc:sldMk cId="0" sldId="275"/>
            <ac:graphicFrameMk id="12" creationId="{5428497B-8627-4B9F-897A-35EF58B3077E}"/>
          </ac:graphicFrameMkLst>
        </pc:graphicFrameChg>
        <pc:cxnChg chg="del">
          <ac:chgData name="Rosenstock, David" userId="0630889a-7007-47d2-8c1c-d553a13d3125" providerId="ADAL" clId="{FA120042-47B7-4BCF-9065-96F6408FBDFF}" dt="2021-12-16T16:58:02.047" v="546" actId="478"/>
          <ac:cxnSpMkLst>
            <pc:docMk/>
            <pc:sldMk cId="0" sldId="275"/>
            <ac:cxnSpMk id="508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8:02.047" v="546" actId="478"/>
          <ac:cxnSpMkLst>
            <pc:docMk/>
            <pc:sldMk cId="0" sldId="275"/>
            <ac:cxnSpMk id="509" creationId="{00000000-0000-0000-0000-000000000000}"/>
          </ac:cxnSpMkLst>
        </pc:cxnChg>
        <pc:cxnChg chg="del">
          <ac:chgData name="Rosenstock, David" userId="0630889a-7007-47d2-8c1c-d553a13d3125" providerId="ADAL" clId="{FA120042-47B7-4BCF-9065-96F6408FBDFF}" dt="2021-12-16T16:58:02.047" v="546" actId="478"/>
          <ac:cxnSpMkLst>
            <pc:docMk/>
            <pc:sldMk cId="0" sldId="275"/>
            <ac:cxnSpMk id="510" creationId="{00000000-0000-0000-0000-000000000000}"/>
          </ac:cxnSpMkLst>
        </pc:cxnChg>
      </pc:sldChg>
      <pc:sldChg chg="addSp delSp modSp add mod">
        <pc:chgData name="Rosenstock, David" userId="0630889a-7007-47d2-8c1c-d553a13d3125" providerId="ADAL" clId="{FA120042-47B7-4BCF-9065-96F6408FBDFF}" dt="2021-12-17T12:27:38.417" v="2943" actId="20577"/>
        <pc:sldMkLst>
          <pc:docMk/>
          <pc:sldMk cId="56683289" sldId="292"/>
        </pc:sldMkLst>
        <pc:spChg chg="add del mod">
          <ac:chgData name="Rosenstock, David" userId="0630889a-7007-47d2-8c1c-d553a13d3125" providerId="ADAL" clId="{FA120042-47B7-4BCF-9065-96F6408FBDFF}" dt="2021-12-16T17:03:11.003" v="1023" actId="478"/>
          <ac:spMkLst>
            <pc:docMk/>
            <pc:sldMk cId="56683289" sldId="292"/>
            <ac:spMk id="7" creationId="{85AB1B0A-16BE-41CB-AB71-9021E08AC880}"/>
          </ac:spMkLst>
        </pc:spChg>
        <pc:spChg chg="add del mod">
          <ac:chgData name="Rosenstock, David" userId="0630889a-7007-47d2-8c1c-d553a13d3125" providerId="ADAL" clId="{FA120042-47B7-4BCF-9065-96F6408FBDFF}" dt="2021-12-16T17:03:36.468" v="1025" actId="1076"/>
          <ac:spMkLst>
            <pc:docMk/>
            <pc:sldMk cId="56683289" sldId="292"/>
            <ac:spMk id="12" creationId="{4D4446E2-4161-4105-ADB8-B3BF96875207}"/>
          </ac:spMkLst>
        </pc:spChg>
        <pc:spChg chg="del mod">
          <ac:chgData name="Rosenstock, David" userId="0630889a-7007-47d2-8c1c-d553a13d3125" providerId="ADAL" clId="{FA120042-47B7-4BCF-9065-96F6408FBDFF}" dt="2021-12-16T17:03:09.057" v="1022" actId="478"/>
          <ac:spMkLst>
            <pc:docMk/>
            <pc:sldMk cId="56683289" sldId="292"/>
            <ac:spMk id="13" creationId="{63288941-65B9-4389-8850-CD6C99493530}"/>
          </ac:spMkLst>
        </pc:spChg>
        <pc:spChg chg="mod">
          <ac:chgData name="Rosenstock, David" userId="0630889a-7007-47d2-8c1c-d553a13d3125" providerId="ADAL" clId="{FA120042-47B7-4BCF-9065-96F6408FBDFF}" dt="2021-12-17T12:27:38.417" v="2943" actId="20577"/>
          <ac:spMkLst>
            <pc:docMk/>
            <pc:sldMk cId="56683289" sldId="292"/>
            <ac:spMk id="14" creationId="{1D364871-DD87-41A3-B687-E682F53F9F54}"/>
          </ac:spMkLst>
        </pc:spChg>
        <pc:picChg chg="add del mod">
          <ac:chgData name="Rosenstock, David" userId="0630889a-7007-47d2-8c1c-d553a13d3125" providerId="ADAL" clId="{FA120042-47B7-4BCF-9065-96F6408FBDFF}" dt="2021-12-16T16:48:37.909" v="319" actId="478"/>
          <ac:picMkLst>
            <pc:docMk/>
            <pc:sldMk cId="56683289" sldId="292"/>
            <ac:picMk id="3" creationId="{87346C87-CB7D-4718-B2A2-F64716F8CA60}"/>
          </ac:picMkLst>
        </pc:picChg>
        <pc:picChg chg="add mod">
          <ac:chgData name="Rosenstock, David" userId="0630889a-7007-47d2-8c1c-d553a13d3125" providerId="ADAL" clId="{FA120042-47B7-4BCF-9065-96F6408FBDFF}" dt="2021-12-16T17:03:26.767" v="1024" actId="1076"/>
          <ac:picMkLst>
            <pc:docMk/>
            <pc:sldMk cId="56683289" sldId="292"/>
            <ac:picMk id="5" creationId="{68597FEF-7164-4CB6-8CE2-C2B2482F66E4}"/>
          </ac:picMkLst>
        </pc:picChg>
      </pc:sldChg>
      <pc:sldChg chg="modSp add mod setBg">
        <pc:chgData name="Rosenstock, David" userId="0630889a-7007-47d2-8c1c-d553a13d3125" providerId="ADAL" clId="{FA120042-47B7-4BCF-9065-96F6408FBDFF}" dt="2021-12-16T16:45:03.516" v="300" actId="20577"/>
        <pc:sldMkLst>
          <pc:docMk/>
          <pc:sldMk cId="525232784" sldId="2076138444"/>
        </pc:sldMkLst>
        <pc:spChg chg="mod">
          <ac:chgData name="Rosenstock, David" userId="0630889a-7007-47d2-8c1c-d553a13d3125" providerId="ADAL" clId="{FA120042-47B7-4BCF-9065-96F6408FBDFF}" dt="2021-12-16T16:45:03.516" v="300" actId="20577"/>
          <ac:spMkLst>
            <pc:docMk/>
            <pc:sldMk cId="525232784" sldId="2076138444"/>
            <ac:spMk id="2" creationId="{5947E540-D664-2248-A353-E17150691F3D}"/>
          </ac:spMkLst>
        </pc:spChg>
      </pc:sldChg>
      <pc:sldChg chg="delSp modSp add mod modNotesTx">
        <pc:chgData name="Rosenstock, David" userId="0630889a-7007-47d2-8c1c-d553a13d3125" providerId="ADAL" clId="{FA120042-47B7-4BCF-9065-96F6408FBDFF}" dt="2021-12-16T16:39:11.943" v="91" actId="478"/>
        <pc:sldMkLst>
          <pc:docMk/>
          <pc:sldMk cId="0" sldId="2076138453"/>
        </pc:sldMkLst>
        <pc:spChg chg="mod">
          <ac:chgData name="Rosenstock, David" userId="0630889a-7007-47d2-8c1c-d553a13d3125" providerId="ADAL" clId="{FA120042-47B7-4BCF-9065-96F6408FBDFF}" dt="2021-12-16T16:39:09.754" v="90" actId="14100"/>
          <ac:spMkLst>
            <pc:docMk/>
            <pc:sldMk cId="0" sldId="2076138453"/>
            <ac:spMk id="57" creationId="{00000000-0000-0000-0000-000000000000}"/>
          </ac:spMkLst>
        </pc:spChg>
        <pc:cxnChg chg="del">
          <ac:chgData name="Rosenstock, David" userId="0630889a-7007-47d2-8c1c-d553a13d3125" providerId="ADAL" clId="{FA120042-47B7-4BCF-9065-96F6408FBDFF}" dt="2021-12-16T16:39:11.943" v="91" actId="478"/>
          <ac:cxnSpMkLst>
            <pc:docMk/>
            <pc:sldMk cId="0" sldId="2076138453"/>
            <ac:cxnSpMk id="59" creationId="{00000000-0000-0000-0000-000000000000}"/>
          </ac:cxnSpMkLst>
        </pc:cxnChg>
      </pc:sldChg>
      <pc:sldChg chg="modSp mod">
        <pc:chgData name="Rosenstock, David" userId="0630889a-7007-47d2-8c1c-d553a13d3125" providerId="ADAL" clId="{FA120042-47B7-4BCF-9065-96F6408FBDFF}" dt="2021-12-17T12:25:00.763" v="2786" actId="20577"/>
        <pc:sldMkLst>
          <pc:docMk/>
          <pc:sldMk cId="2202518655" sldId="2076138455"/>
        </pc:sldMkLst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3" creationId="{BD40A970-BA99-4B84-B9B4-51B60213E776}"/>
          </ac:spMkLst>
        </pc:spChg>
        <pc:spChg chg="mod">
          <ac:chgData name="Rosenstock, David" userId="0630889a-7007-47d2-8c1c-d553a13d3125" providerId="ADAL" clId="{FA120042-47B7-4BCF-9065-96F6408FBDFF}" dt="2021-12-17T12:25:00.763" v="2786" actId="20577"/>
          <ac:spMkLst>
            <pc:docMk/>
            <pc:sldMk cId="2202518655" sldId="2076138455"/>
            <ac:spMk id="4" creationId="{00000000-0000-0000-0000-000000000000}"/>
          </ac:spMkLst>
        </pc:spChg>
        <pc:spChg chg="mod">
          <ac:chgData name="Rosenstock, David" userId="0630889a-7007-47d2-8c1c-d553a13d3125" providerId="ADAL" clId="{FA120042-47B7-4BCF-9065-96F6408FBDFF}" dt="2021-12-16T17:00:54.385" v="745" actId="404"/>
          <ac:spMkLst>
            <pc:docMk/>
            <pc:sldMk cId="2202518655" sldId="2076138455"/>
            <ac:spMk id="11" creationId="{F280B2C5-7624-48CF-8749-F4E3121AC2C2}"/>
          </ac:spMkLst>
        </pc:spChg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13" creationId="{7C3848BD-D91C-4DDB-BD21-97C67DCA643D}"/>
          </ac:spMkLst>
        </pc:spChg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14" creationId="{DBB72897-5A1E-4E30-A407-9EACEFE91A3B}"/>
          </ac:spMkLst>
        </pc:spChg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15" creationId="{9DDBC192-3D79-4F87-999A-ED5E5BBEBA6A}"/>
          </ac:spMkLst>
        </pc:spChg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17" creationId="{BD04186B-6D52-44B1-AF95-39949215D2F1}"/>
          </ac:spMkLst>
        </pc:spChg>
        <pc:spChg chg="mod">
          <ac:chgData name="Rosenstock, David" userId="0630889a-7007-47d2-8c1c-d553a13d3125" providerId="ADAL" clId="{FA120042-47B7-4BCF-9065-96F6408FBDFF}" dt="2021-12-16T16:43:33.442" v="240" actId="1036"/>
          <ac:spMkLst>
            <pc:docMk/>
            <pc:sldMk cId="2202518655" sldId="2076138455"/>
            <ac:spMk id="18" creationId="{4CD17411-20C1-47C0-A39E-A86208CE3F12}"/>
          </ac:spMkLst>
        </pc:spChg>
        <pc:grpChg chg="mod">
          <ac:chgData name="Rosenstock, David" userId="0630889a-7007-47d2-8c1c-d553a13d3125" providerId="ADAL" clId="{FA120042-47B7-4BCF-9065-96F6408FBDFF}" dt="2021-12-16T16:43:33.442" v="240" actId="1036"/>
          <ac:grpSpMkLst>
            <pc:docMk/>
            <pc:sldMk cId="2202518655" sldId="2076138455"/>
            <ac:grpSpMk id="28" creationId="{19A517A1-6BD5-44CC-B9E0-8BB11965716C}"/>
          </ac:grpSpMkLst>
        </pc:grpChg>
      </pc:sldChg>
      <pc:sldChg chg="modSp mod">
        <pc:chgData name="Rosenstock, David" userId="0630889a-7007-47d2-8c1c-d553a13d3125" providerId="ADAL" clId="{FA120042-47B7-4BCF-9065-96F6408FBDFF}" dt="2021-12-17T12:26:19.698" v="2832" actId="20577"/>
        <pc:sldMkLst>
          <pc:docMk/>
          <pc:sldMk cId="257380017" sldId="2076138456"/>
        </pc:sldMkLst>
        <pc:spChg chg="mod">
          <ac:chgData name="Rosenstock, David" userId="0630889a-7007-47d2-8c1c-d553a13d3125" providerId="ADAL" clId="{FA120042-47B7-4BCF-9065-96F6408FBDFF}" dt="2021-12-17T12:26:19.698" v="2832" actId="20577"/>
          <ac:spMkLst>
            <pc:docMk/>
            <pc:sldMk cId="257380017" sldId="2076138456"/>
            <ac:spMk id="96" creationId="{00000000-0000-0000-0000-000000000000}"/>
          </ac:spMkLst>
        </pc:spChg>
      </pc:sldChg>
      <pc:sldChg chg="modSp mod">
        <pc:chgData name="Rosenstock, David" userId="0630889a-7007-47d2-8c1c-d553a13d3125" providerId="ADAL" clId="{FA120042-47B7-4BCF-9065-96F6408FBDFF}" dt="2021-12-16T16:53:57.165" v="496" actId="404"/>
        <pc:sldMkLst>
          <pc:docMk/>
          <pc:sldMk cId="700120364" sldId="2076138459"/>
        </pc:sldMkLst>
        <pc:spChg chg="mod">
          <ac:chgData name="Rosenstock, David" userId="0630889a-7007-47d2-8c1c-d553a13d3125" providerId="ADAL" clId="{FA120042-47B7-4BCF-9065-96F6408FBDFF}" dt="2021-12-16T16:53:49.781" v="494" actId="404"/>
          <ac:spMkLst>
            <pc:docMk/>
            <pc:sldMk cId="700120364" sldId="2076138459"/>
            <ac:spMk id="13" creationId="{7C3848BD-D91C-4DDB-BD21-97C67DCA643D}"/>
          </ac:spMkLst>
        </pc:spChg>
        <pc:spChg chg="mod">
          <ac:chgData name="Rosenstock, David" userId="0630889a-7007-47d2-8c1c-d553a13d3125" providerId="ADAL" clId="{FA120042-47B7-4BCF-9065-96F6408FBDFF}" dt="2021-12-16T16:53:57.165" v="496" actId="404"/>
          <ac:spMkLst>
            <pc:docMk/>
            <pc:sldMk cId="700120364" sldId="2076138459"/>
            <ac:spMk id="14" creationId="{DBB72897-5A1E-4E30-A407-9EACEFE91A3B}"/>
          </ac:spMkLst>
        </pc:spChg>
        <pc:spChg chg="mod">
          <ac:chgData name="Rosenstock, David" userId="0630889a-7007-47d2-8c1c-d553a13d3125" providerId="ADAL" clId="{FA120042-47B7-4BCF-9065-96F6408FBDFF}" dt="2021-12-16T16:53:53.481" v="495" actId="404"/>
          <ac:spMkLst>
            <pc:docMk/>
            <pc:sldMk cId="700120364" sldId="2076138459"/>
            <ac:spMk id="15" creationId="{9DDBC192-3D79-4F87-999A-ED5E5BBEBA6A}"/>
          </ac:spMkLst>
        </pc:spChg>
      </pc:sldChg>
      <pc:sldChg chg="addSp delSp modSp del mod ord">
        <pc:chgData name="Rosenstock, David" userId="0630889a-7007-47d2-8c1c-d553a13d3125" providerId="ADAL" clId="{FA120042-47B7-4BCF-9065-96F6408FBDFF}" dt="2021-12-16T17:26:48.832" v="2235" actId="47"/>
        <pc:sldMkLst>
          <pc:docMk/>
          <pc:sldMk cId="1558992902" sldId="2076138460"/>
        </pc:sldMkLst>
        <pc:spChg chg="mod">
          <ac:chgData name="Rosenstock, David" userId="0630889a-7007-47d2-8c1c-d553a13d3125" providerId="ADAL" clId="{FA120042-47B7-4BCF-9065-96F6408FBDFF}" dt="2021-12-16T16:53:29.770" v="492" actId="20577"/>
          <ac:spMkLst>
            <pc:docMk/>
            <pc:sldMk cId="1558992902" sldId="2076138460"/>
            <ac:spMk id="3" creationId="{82534F3A-0F1E-4028-B3A9-E30684F6A1D1}"/>
          </ac:spMkLst>
        </pc:spChg>
        <pc:picChg chg="add del">
          <ac:chgData name="Rosenstock, David" userId="0630889a-7007-47d2-8c1c-d553a13d3125" providerId="ADAL" clId="{FA120042-47B7-4BCF-9065-96F6408FBDFF}" dt="2021-12-16T16:55:43.235" v="502" actId="21"/>
          <ac:picMkLst>
            <pc:docMk/>
            <pc:sldMk cId="1558992902" sldId="2076138460"/>
            <ac:picMk id="1028" creationId="{ADF61F8F-04C0-42A3-9307-2210F7EF521D}"/>
          </ac:picMkLst>
        </pc:picChg>
      </pc:sldChg>
      <pc:sldChg chg="del ord">
        <pc:chgData name="Rosenstock, David" userId="0630889a-7007-47d2-8c1c-d553a13d3125" providerId="ADAL" clId="{FA120042-47B7-4BCF-9065-96F6408FBDFF}" dt="2021-12-16T17:10:59.156" v="1721" actId="47"/>
        <pc:sldMkLst>
          <pc:docMk/>
          <pc:sldMk cId="3349007123" sldId="2076138461"/>
        </pc:sldMkLst>
      </pc:sldChg>
      <pc:sldChg chg="del ord">
        <pc:chgData name="Rosenstock, David" userId="0630889a-7007-47d2-8c1c-d553a13d3125" providerId="ADAL" clId="{FA120042-47B7-4BCF-9065-96F6408FBDFF}" dt="2021-12-16T16:53:31.566" v="493" actId="47"/>
        <pc:sldMkLst>
          <pc:docMk/>
          <pc:sldMk cId="1550173765" sldId="2076138462"/>
        </pc:sldMkLst>
      </pc:sldChg>
      <pc:sldChg chg="del ord">
        <pc:chgData name="Rosenstock, David" userId="0630889a-7007-47d2-8c1c-d553a13d3125" providerId="ADAL" clId="{FA120042-47B7-4BCF-9065-96F6408FBDFF}" dt="2021-12-16T16:51:55.949" v="427" actId="47"/>
        <pc:sldMkLst>
          <pc:docMk/>
          <pc:sldMk cId="3889654241" sldId="2076138463"/>
        </pc:sldMkLst>
      </pc:sldChg>
      <pc:sldChg chg="del ord">
        <pc:chgData name="Rosenstock, David" userId="0630889a-7007-47d2-8c1c-d553a13d3125" providerId="ADAL" clId="{FA120042-47B7-4BCF-9065-96F6408FBDFF}" dt="2021-12-16T16:51:42.277" v="402" actId="47"/>
        <pc:sldMkLst>
          <pc:docMk/>
          <pc:sldMk cId="919146887" sldId="2076138464"/>
        </pc:sldMkLst>
      </pc:sldChg>
      <pc:sldChg chg="del ord">
        <pc:chgData name="Rosenstock, David" userId="0630889a-7007-47d2-8c1c-d553a13d3125" providerId="ADAL" clId="{FA120042-47B7-4BCF-9065-96F6408FBDFF}" dt="2021-12-16T19:27:51.757" v="2632" actId="47"/>
        <pc:sldMkLst>
          <pc:docMk/>
          <pc:sldMk cId="1742332029" sldId="2076138465"/>
        </pc:sldMkLst>
      </pc:sldChg>
      <pc:sldChg chg="modSp mod ord modShow">
        <pc:chgData name="Rosenstock, David" userId="0630889a-7007-47d2-8c1c-d553a13d3125" providerId="ADAL" clId="{FA120042-47B7-4BCF-9065-96F6408FBDFF}" dt="2021-12-17T21:48:07.753" v="3574" actId="2711"/>
        <pc:sldMkLst>
          <pc:docMk/>
          <pc:sldMk cId="1313333293" sldId="2076138466"/>
        </pc:sldMkLst>
        <pc:spChg chg="mod">
          <ac:chgData name="Rosenstock, David" userId="0630889a-7007-47d2-8c1c-d553a13d3125" providerId="ADAL" clId="{FA120042-47B7-4BCF-9065-96F6408FBDFF}" dt="2021-12-17T21:46:11.038" v="3573" actId="2711"/>
          <ac:spMkLst>
            <pc:docMk/>
            <pc:sldMk cId="1313333293" sldId="2076138466"/>
            <ac:spMk id="2" creationId="{AD960C2D-BDCE-4640-AB03-D29BE4DED855}"/>
          </ac:spMkLst>
        </pc:spChg>
        <pc:spChg chg="mod">
          <ac:chgData name="Rosenstock, David" userId="0630889a-7007-47d2-8c1c-d553a13d3125" providerId="ADAL" clId="{FA120042-47B7-4BCF-9065-96F6408FBDFF}" dt="2021-12-16T17:32:53.413" v="2322" actId="20577"/>
          <ac:spMkLst>
            <pc:docMk/>
            <pc:sldMk cId="1313333293" sldId="2076138466"/>
            <ac:spMk id="3" creationId="{D5A0701D-C507-4392-A57D-0C0F136BCD69}"/>
          </ac:spMkLst>
        </pc:spChg>
        <pc:spChg chg="mod">
          <ac:chgData name="Rosenstock, David" userId="0630889a-7007-47d2-8c1c-d553a13d3125" providerId="ADAL" clId="{FA120042-47B7-4BCF-9065-96F6408FBDFF}" dt="2021-12-17T21:48:07.753" v="3574" actId="2711"/>
          <ac:spMkLst>
            <pc:docMk/>
            <pc:sldMk cId="1313333293" sldId="2076138466"/>
            <ac:spMk id="13" creationId="{DF71E28C-B391-4C8E-B474-753D0B968D60}"/>
          </ac:spMkLst>
        </pc:spChg>
        <pc:spChg chg="mod">
          <ac:chgData name="Rosenstock, David" userId="0630889a-7007-47d2-8c1c-d553a13d3125" providerId="ADAL" clId="{FA120042-47B7-4BCF-9065-96F6408FBDFF}" dt="2021-12-17T21:48:07.753" v="3574" actId="2711"/>
          <ac:spMkLst>
            <pc:docMk/>
            <pc:sldMk cId="1313333293" sldId="2076138466"/>
            <ac:spMk id="14" creationId="{FC79CA21-A725-42D3-AB42-FEDD67E5E312}"/>
          </ac:spMkLst>
        </pc:spChg>
        <pc:spChg chg="mod">
          <ac:chgData name="Rosenstock, David" userId="0630889a-7007-47d2-8c1c-d553a13d3125" providerId="ADAL" clId="{FA120042-47B7-4BCF-9065-96F6408FBDFF}" dt="2021-12-17T21:48:07.753" v="3574" actId="2711"/>
          <ac:spMkLst>
            <pc:docMk/>
            <pc:sldMk cId="1313333293" sldId="2076138466"/>
            <ac:spMk id="15" creationId="{24AA3244-4D4B-488F-9052-868D3205D3F4}"/>
          </ac:spMkLst>
        </pc:spChg>
        <pc:spChg chg="mod">
          <ac:chgData name="Rosenstock, David" userId="0630889a-7007-47d2-8c1c-d553a13d3125" providerId="ADAL" clId="{FA120042-47B7-4BCF-9065-96F6408FBDFF}" dt="2021-12-17T21:48:07.753" v="3574" actId="2711"/>
          <ac:spMkLst>
            <pc:docMk/>
            <pc:sldMk cId="1313333293" sldId="2076138466"/>
            <ac:spMk id="16" creationId="{A49CCF9E-8FD9-4F36-AEE0-D72298D4817A}"/>
          </ac:spMkLst>
        </pc:spChg>
      </pc:sldChg>
      <pc:sldChg chg="modSp add mod">
        <pc:chgData name="Rosenstock, David" userId="0630889a-7007-47d2-8c1c-d553a13d3125" providerId="ADAL" clId="{FA120042-47B7-4BCF-9065-96F6408FBDFF}" dt="2021-12-16T16:40:37.125" v="109" actId="20577"/>
        <pc:sldMkLst>
          <pc:docMk/>
          <pc:sldMk cId="442580243" sldId="2076138467"/>
        </pc:sldMkLst>
        <pc:spChg chg="mod">
          <ac:chgData name="Rosenstock, David" userId="0630889a-7007-47d2-8c1c-d553a13d3125" providerId="ADAL" clId="{FA120042-47B7-4BCF-9065-96F6408FBDFF}" dt="2021-12-16T16:40:37.125" v="109" actId="20577"/>
          <ac:spMkLst>
            <pc:docMk/>
            <pc:sldMk cId="442580243" sldId="2076138467"/>
            <ac:spMk id="2" creationId="{5947E540-D664-2248-A353-E17150691F3D}"/>
          </ac:spMkLst>
        </pc:spChg>
      </pc:sldChg>
      <pc:sldChg chg="modSp add mod">
        <pc:chgData name="Rosenstock, David" userId="0630889a-7007-47d2-8c1c-d553a13d3125" providerId="ADAL" clId="{FA120042-47B7-4BCF-9065-96F6408FBDFF}" dt="2021-12-17T12:34:41.190" v="3377" actId="20577"/>
        <pc:sldMkLst>
          <pc:docMk/>
          <pc:sldMk cId="279887211" sldId="2076138468"/>
        </pc:sldMkLst>
        <pc:spChg chg="mod">
          <ac:chgData name="Rosenstock, David" userId="0630889a-7007-47d2-8c1c-d553a13d3125" providerId="ADAL" clId="{FA120042-47B7-4BCF-9065-96F6408FBDFF}" dt="2021-12-17T12:34:41.190" v="3377" actId="20577"/>
          <ac:spMkLst>
            <pc:docMk/>
            <pc:sldMk cId="279887211" sldId="2076138468"/>
            <ac:spMk id="2" creationId="{5947E540-D664-2248-A353-E17150691F3D}"/>
          </ac:spMkLst>
        </pc:spChg>
      </pc:sldChg>
      <pc:sldChg chg="modSp add mod">
        <pc:chgData name="Rosenstock, David" userId="0630889a-7007-47d2-8c1c-d553a13d3125" providerId="ADAL" clId="{FA120042-47B7-4BCF-9065-96F6408FBDFF}" dt="2021-12-17T21:39:07.525" v="3551" actId="20577"/>
        <pc:sldMkLst>
          <pc:docMk/>
          <pc:sldMk cId="1250594278" sldId="2076138469"/>
        </pc:sldMkLst>
        <pc:spChg chg="mod">
          <ac:chgData name="Rosenstock, David" userId="0630889a-7007-47d2-8c1c-d553a13d3125" providerId="ADAL" clId="{FA120042-47B7-4BCF-9065-96F6408FBDFF}" dt="2021-12-17T21:39:07.525" v="3551" actId="20577"/>
          <ac:spMkLst>
            <pc:docMk/>
            <pc:sldMk cId="1250594278" sldId="2076138469"/>
            <ac:spMk id="2" creationId="{5947E540-D664-2248-A353-E17150691F3D}"/>
          </ac:spMkLst>
        </pc:spChg>
      </pc:sldChg>
      <pc:sldChg chg="modSp add del mod ord modShow">
        <pc:chgData name="Rosenstock, David" userId="0630889a-7007-47d2-8c1c-d553a13d3125" providerId="ADAL" clId="{FA120042-47B7-4BCF-9065-96F6408FBDFF}" dt="2021-12-16T17:15:47.241" v="1722" actId="47"/>
        <pc:sldMkLst>
          <pc:docMk/>
          <pc:sldMk cId="842676967" sldId="2076138470"/>
        </pc:sldMkLst>
        <pc:spChg chg="mod">
          <ac:chgData name="Rosenstock, David" userId="0630889a-7007-47d2-8c1c-d553a13d3125" providerId="ADAL" clId="{FA120042-47B7-4BCF-9065-96F6408FBDFF}" dt="2021-12-16T16:42:46.694" v="197" actId="20577"/>
          <ac:spMkLst>
            <pc:docMk/>
            <pc:sldMk cId="842676967" sldId="2076138470"/>
            <ac:spMk id="2" creationId="{5947E540-D664-2248-A353-E17150691F3D}"/>
          </ac:spMkLst>
        </pc:spChg>
      </pc:sldChg>
      <pc:sldChg chg="addSp delSp modSp add mod">
        <pc:chgData name="Rosenstock, David" userId="0630889a-7007-47d2-8c1c-d553a13d3125" providerId="ADAL" clId="{FA120042-47B7-4BCF-9065-96F6408FBDFF}" dt="2021-12-16T17:16:52.133" v="1736" actId="20577"/>
        <pc:sldMkLst>
          <pc:docMk/>
          <pc:sldMk cId="3269583415" sldId="2076138471"/>
        </pc:sldMkLst>
        <pc:spChg chg="add del mod">
          <ac:chgData name="Rosenstock, David" userId="0630889a-7007-47d2-8c1c-d553a13d3125" providerId="ADAL" clId="{FA120042-47B7-4BCF-9065-96F6408FBDFF}" dt="2021-12-16T17:04:05.974" v="1043" actId="478"/>
          <ac:spMkLst>
            <pc:docMk/>
            <pc:sldMk cId="3269583415" sldId="2076138471"/>
            <ac:spMk id="5" creationId="{166F3C74-2D88-44C7-8DAC-4646BE0A7497}"/>
          </ac:spMkLst>
        </pc:spChg>
        <pc:spChg chg="add del mod">
          <ac:chgData name="Rosenstock, David" userId="0630889a-7007-47d2-8c1c-d553a13d3125" providerId="ADAL" clId="{FA120042-47B7-4BCF-9065-96F6408FBDFF}" dt="2021-12-16T17:05:52.179" v="1498" actId="478"/>
          <ac:spMkLst>
            <pc:docMk/>
            <pc:sldMk cId="3269583415" sldId="2076138471"/>
            <ac:spMk id="7" creationId="{4968CC95-7323-46C7-B4E8-58FE5106205F}"/>
          </ac:spMkLst>
        </pc:spChg>
        <pc:spChg chg="mod">
          <ac:chgData name="Rosenstock, David" userId="0630889a-7007-47d2-8c1c-d553a13d3125" providerId="ADAL" clId="{FA120042-47B7-4BCF-9065-96F6408FBDFF}" dt="2021-12-16T17:06:47.901" v="1522" actId="1076"/>
          <ac:spMkLst>
            <pc:docMk/>
            <pc:sldMk cId="3269583415" sldId="2076138471"/>
            <ac:spMk id="12" creationId="{4D4446E2-4161-4105-ADB8-B3BF96875207}"/>
          </ac:spMkLst>
        </pc:spChg>
        <pc:spChg chg="del mod">
          <ac:chgData name="Rosenstock, David" userId="0630889a-7007-47d2-8c1c-d553a13d3125" providerId="ADAL" clId="{FA120042-47B7-4BCF-9065-96F6408FBDFF}" dt="2021-12-16T17:05:50.605" v="1497" actId="478"/>
          <ac:spMkLst>
            <pc:docMk/>
            <pc:sldMk cId="3269583415" sldId="2076138471"/>
            <ac:spMk id="13" creationId="{63288941-65B9-4389-8850-CD6C99493530}"/>
          </ac:spMkLst>
        </pc:spChg>
        <pc:spChg chg="del mod">
          <ac:chgData name="Rosenstock, David" userId="0630889a-7007-47d2-8c1c-d553a13d3125" providerId="ADAL" clId="{FA120042-47B7-4BCF-9065-96F6408FBDFF}" dt="2021-12-16T17:04:04.178" v="1040" actId="478"/>
          <ac:spMkLst>
            <pc:docMk/>
            <pc:sldMk cId="3269583415" sldId="2076138471"/>
            <ac:spMk id="14" creationId="{1D364871-DD87-41A3-B687-E682F53F9F54}"/>
          </ac:spMkLst>
        </pc:spChg>
        <pc:spChg chg="add del mod">
          <ac:chgData name="Rosenstock, David" userId="0630889a-7007-47d2-8c1c-d553a13d3125" providerId="ADAL" clId="{FA120042-47B7-4BCF-9065-96F6408FBDFF}" dt="2021-12-16T17:04:05.186" v="1042"/>
          <ac:spMkLst>
            <pc:docMk/>
            <pc:sldMk cId="3269583415" sldId="2076138471"/>
            <ac:spMk id="15" creationId="{D6E5EF89-7E62-4BF6-AD91-7D9E4C469067}"/>
          </ac:spMkLst>
        </pc:spChg>
        <pc:spChg chg="add mod">
          <ac:chgData name="Rosenstock, David" userId="0630889a-7007-47d2-8c1c-d553a13d3125" providerId="ADAL" clId="{FA120042-47B7-4BCF-9065-96F6408FBDFF}" dt="2021-12-16T17:16:52.133" v="1736" actId="20577"/>
          <ac:spMkLst>
            <pc:docMk/>
            <pc:sldMk cId="3269583415" sldId="2076138471"/>
            <ac:spMk id="16" creationId="{E483F41A-A317-4C3D-A597-033C0C135392}"/>
          </ac:spMkLst>
        </pc:spChg>
        <pc:picChg chg="add mod">
          <ac:chgData name="Rosenstock, David" userId="0630889a-7007-47d2-8c1c-d553a13d3125" providerId="ADAL" clId="{FA120042-47B7-4BCF-9065-96F6408FBDFF}" dt="2021-12-16T17:06:45.339" v="1521" actId="1076"/>
          <ac:picMkLst>
            <pc:docMk/>
            <pc:sldMk cId="3269583415" sldId="2076138471"/>
            <ac:picMk id="3" creationId="{9BC128CB-7D6F-4E45-8B81-3F78DA1D1155}"/>
          </ac:picMkLst>
        </pc:picChg>
        <pc:picChg chg="add del">
          <ac:chgData name="Rosenstock, David" userId="0630889a-7007-47d2-8c1c-d553a13d3125" providerId="ADAL" clId="{FA120042-47B7-4BCF-9065-96F6408FBDFF}" dt="2021-12-16T16:54:48.370" v="499"/>
          <ac:picMkLst>
            <pc:docMk/>
            <pc:sldMk cId="3269583415" sldId="2076138471"/>
            <ac:picMk id="10242" creationId="{BA43D020-FF4C-49FA-8D85-AA223E0884EE}"/>
          </ac:picMkLst>
        </pc:picChg>
      </pc:sldChg>
      <pc:sldChg chg="add del">
        <pc:chgData name="Rosenstock, David" userId="0630889a-7007-47d2-8c1c-d553a13d3125" providerId="ADAL" clId="{FA120042-47B7-4BCF-9065-96F6408FBDFF}" dt="2021-12-16T16:51:30.824" v="401" actId="47"/>
        <pc:sldMkLst>
          <pc:docMk/>
          <pc:sldMk cId="811096322" sldId="2076138472"/>
        </pc:sldMkLst>
      </pc:sldChg>
      <pc:sldChg chg="delSp add del mod">
        <pc:chgData name="Rosenstock, David" userId="0630889a-7007-47d2-8c1c-d553a13d3125" providerId="ADAL" clId="{FA120042-47B7-4BCF-9065-96F6408FBDFF}" dt="2021-12-16T16:58:34.061" v="551" actId="47"/>
        <pc:sldMkLst>
          <pc:docMk/>
          <pc:sldMk cId="1662455759" sldId="2076138472"/>
        </pc:sldMkLst>
        <pc:graphicFrameChg chg="del">
          <ac:chgData name="Rosenstock, David" userId="0630889a-7007-47d2-8c1c-d553a13d3125" providerId="ADAL" clId="{FA120042-47B7-4BCF-9065-96F6408FBDFF}" dt="2021-12-16T16:58:11.193" v="548" actId="21"/>
          <ac:graphicFrameMkLst>
            <pc:docMk/>
            <pc:sldMk cId="1662455759" sldId="2076138472"/>
            <ac:graphicFrameMk id="2" creationId="{264C70A3-25C2-43A0-8234-CE531A6B2F21}"/>
          </ac:graphicFrameMkLst>
        </pc:graphicFrameChg>
        <pc:picChg chg="del">
          <ac:chgData name="Rosenstock, David" userId="0630889a-7007-47d2-8c1c-d553a13d3125" providerId="ADAL" clId="{FA120042-47B7-4BCF-9065-96F6408FBDFF}" dt="2021-12-16T16:57:21.010" v="529" actId="478"/>
          <ac:picMkLst>
            <pc:docMk/>
            <pc:sldMk cId="1662455759" sldId="2076138472"/>
            <ac:picMk id="17" creationId="{8062C0E8-1B15-488A-A2DA-2A4FFC771D9A}"/>
          </ac:picMkLst>
        </pc:picChg>
      </pc:sldChg>
      <pc:sldChg chg="addSp delSp modSp add mod">
        <pc:chgData name="Rosenstock, David" userId="0630889a-7007-47d2-8c1c-d553a13d3125" providerId="ADAL" clId="{FA120042-47B7-4BCF-9065-96F6408FBDFF}" dt="2021-12-17T12:34:09.191" v="3365" actId="20577"/>
        <pc:sldMkLst>
          <pc:docMk/>
          <pc:sldMk cId="3562196693" sldId="2076138472"/>
        </pc:sldMkLst>
        <pc:spChg chg="add mod">
          <ac:chgData name="Rosenstock, David" userId="0630889a-7007-47d2-8c1c-d553a13d3125" providerId="ADAL" clId="{FA120042-47B7-4BCF-9065-96F6408FBDFF}" dt="2021-12-16T17:21:44.092" v="1913" actId="120"/>
          <ac:spMkLst>
            <pc:docMk/>
            <pc:sldMk cId="3562196693" sldId="2076138472"/>
            <ac:spMk id="5" creationId="{04738799-C819-459C-A995-D105416658F6}"/>
          </ac:spMkLst>
        </pc:spChg>
        <pc:spChg chg="add mod">
          <ac:chgData name="Rosenstock, David" userId="0630889a-7007-47d2-8c1c-d553a13d3125" providerId="ADAL" clId="{FA120042-47B7-4BCF-9065-96F6408FBDFF}" dt="2021-12-16T17:32:07.307" v="2311" actId="14100"/>
          <ac:spMkLst>
            <pc:docMk/>
            <pc:sldMk cId="3562196693" sldId="2076138472"/>
            <ac:spMk id="7" creationId="{A9FDCABC-AEE6-4FE5-A250-A34B41BEFC6B}"/>
          </ac:spMkLst>
        </pc:spChg>
        <pc:spChg chg="mod">
          <ac:chgData name="Rosenstock, David" userId="0630889a-7007-47d2-8c1c-d553a13d3125" providerId="ADAL" clId="{FA120042-47B7-4BCF-9065-96F6408FBDFF}" dt="2021-12-17T12:34:09.191" v="3365" actId="20577"/>
          <ac:spMkLst>
            <pc:docMk/>
            <pc:sldMk cId="3562196693" sldId="2076138472"/>
            <ac:spMk id="511" creationId="{00000000-0000-0000-0000-000000000000}"/>
          </ac:spMkLst>
        </pc:spChg>
        <pc:graphicFrameChg chg="del">
          <ac:chgData name="Rosenstock, David" userId="0630889a-7007-47d2-8c1c-d553a13d3125" providerId="ADAL" clId="{FA120042-47B7-4BCF-9065-96F6408FBDFF}" dt="2021-12-16T17:17:39.887" v="1832" actId="478"/>
          <ac:graphicFrameMkLst>
            <pc:docMk/>
            <pc:sldMk cId="3562196693" sldId="2076138472"/>
            <ac:graphicFrameMk id="12" creationId="{5428497B-8627-4B9F-897A-35EF58B3077E}"/>
          </ac:graphicFrameMkLst>
        </pc:graphicFrameChg>
      </pc:sldChg>
      <pc:sldChg chg="addSp delSp modSp add mod">
        <pc:chgData name="Rosenstock, David" userId="0630889a-7007-47d2-8c1c-d553a13d3125" providerId="ADAL" clId="{FA120042-47B7-4BCF-9065-96F6408FBDFF}" dt="2021-12-16T17:25:07.514" v="2118" actId="478"/>
        <pc:sldMkLst>
          <pc:docMk/>
          <pc:sldMk cId="473015979" sldId="2076138473"/>
        </pc:sldMkLst>
        <pc:spChg chg="mod">
          <ac:chgData name="Rosenstock, David" userId="0630889a-7007-47d2-8c1c-d553a13d3125" providerId="ADAL" clId="{FA120042-47B7-4BCF-9065-96F6408FBDFF}" dt="2021-12-16T17:23:26.356" v="2002" actId="20577"/>
          <ac:spMkLst>
            <pc:docMk/>
            <pc:sldMk cId="473015979" sldId="2076138473"/>
            <ac:spMk id="12" creationId="{4D4446E2-4161-4105-ADB8-B3BF96875207}"/>
          </ac:spMkLst>
        </pc:spChg>
        <pc:spChg chg="mod">
          <ac:chgData name="Rosenstock, David" userId="0630889a-7007-47d2-8c1c-d553a13d3125" providerId="ADAL" clId="{FA120042-47B7-4BCF-9065-96F6408FBDFF}" dt="2021-12-16T17:24:34.020" v="2115" actId="1076"/>
          <ac:spMkLst>
            <pc:docMk/>
            <pc:sldMk cId="473015979" sldId="2076138473"/>
            <ac:spMk id="16" creationId="{E483F41A-A317-4C3D-A597-033C0C135392}"/>
          </ac:spMkLst>
        </pc:spChg>
        <pc:picChg chg="del">
          <ac:chgData name="Rosenstock, David" userId="0630889a-7007-47d2-8c1c-d553a13d3125" providerId="ADAL" clId="{FA120042-47B7-4BCF-9065-96F6408FBDFF}" dt="2021-12-16T17:23:24.072" v="2001" actId="478"/>
          <ac:picMkLst>
            <pc:docMk/>
            <pc:sldMk cId="473015979" sldId="2076138473"/>
            <ac:picMk id="3" creationId="{9BC128CB-7D6F-4E45-8B81-3F78DA1D1155}"/>
          </ac:picMkLst>
        </pc:picChg>
        <pc:picChg chg="add mod">
          <ac:chgData name="Rosenstock, David" userId="0630889a-7007-47d2-8c1c-d553a13d3125" providerId="ADAL" clId="{FA120042-47B7-4BCF-9065-96F6408FBDFF}" dt="2021-12-16T17:23:49.500" v="2006" actId="1076"/>
          <ac:picMkLst>
            <pc:docMk/>
            <pc:sldMk cId="473015979" sldId="2076138473"/>
            <ac:picMk id="4" creationId="{51AC3A67-1811-4B03-B06A-D3D2C8BD1A10}"/>
          </ac:picMkLst>
        </pc:picChg>
        <pc:picChg chg="add del">
          <ac:chgData name="Rosenstock, David" userId="0630889a-7007-47d2-8c1c-d553a13d3125" providerId="ADAL" clId="{FA120042-47B7-4BCF-9065-96F6408FBDFF}" dt="2021-12-16T17:25:07.514" v="2118" actId="478"/>
          <ac:picMkLst>
            <pc:docMk/>
            <pc:sldMk cId="473015979" sldId="2076138473"/>
            <ac:picMk id="6" creationId="{30F254B8-30F0-4C7B-8658-FF3E0A5FD957}"/>
          </ac:picMkLst>
        </pc:picChg>
      </pc:sldChg>
      <pc:sldChg chg="addSp delSp modSp add mod">
        <pc:chgData name="Rosenstock, David" userId="0630889a-7007-47d2-8c1c-d553a13d3125" providerId="ADAL" clId="{FA120042-47B7-4BCF-9065-96F6408FBDFF}" dt="2021-12-17T12:35:40.889" v="3459" actId="13926"/>
        <pc:sldMkLst>
          <pc:docMk/>
          <pc:sldMk cId="3382922464" sldId="2076138474"/>
        </pc:sldMkLst>
        <pc:spChg chg="mod">
          <ac:chgData name="Rosenstock, David" userId="0630889a-7007-47d2-8c1c-d553a13d3125" providerId="ADAL" clId="{FA120042-47B7-4BCF-9065-96F6408FBDFF}" dt="2021-12-17T12:35:40.889" v="3459" actId="13926"/>
          <ac:spMkLst>
            <pc:docMk/>
            <pc:sldMk cId="3382922464" sldId="2076138474"/>
            <ac:spMk id="16" creationId="{E483F41A-A317-4C3D-A597-033C0C135392}"/>
          </ac:spMkLst>
        </pc:spChg>
        <pc:picChg chg="del">
          <ac:chgData name="Rosenstock, David" userId="0630889a-7007-47d2-8c1c-d553a13d3125" providerId="ADAL" clId="{FA120042-47B7-4BCF-9065-96F6408FBDFF}" dt="2021-12-16T17:25:12.490" v="2122" actId="478"/>
          <ac:picMkLst>
            <pc:docMk/>
            <pc:sldMk cId="3382922464" sldId="2076138474"/>
            <ac:picMk id="4" creationId="{51AC3A67-1811-4B03-B06A-D3D2C8BD1A10}"/>
          </ac:picMkLst>
        </pc:picChg>
        <pc:picChg chg="del">
          <ac:chgData name="Rosenstock, David" userId="0630889a-7007-47d2-8c1c-d553a13d3125" providerId="ADAL" clId="{FA120042-47B7-4BCF-9065-96F6408FBDFF}" dt="2021-12-16T17:25:09.872" v="2119" actId="21"/>
          <ac:picMkLst>
            <pc:docMk/>
            <pc:sldMk cId="3382922464" sldId="2076138474"/>
            <ac:picMk id="6" creationId="{30F254B8-30F0-4C7B-8658-FF3E0A5FD957}"/>
          </ac:picMkLst>
        </pc:picChg>
        <pc:picChg chg="add mod">
          <ac:chgData name="Rosenstock, David" userId="0630889a-7007-47d2-8c1c-d553a13d3125" providerId="ADAL" clId="{FA120042-47B7-4BCF-9065-96F6408FBDFF}" dt="2021-12-16T17:25:20.161" v="2126" actId="1076"/>
          <ac:picMkLst>
            <pc:docMk/>
            <pc:sldMk cId="3382922464" sldId="2076138474"/>
            <ac:picMk id="7" creationId="{B388FF10-1051-4518-BEFD-D5E1418B5347}"/>
          </ac:picMkLst>
        </pc:picChg>
      </pc:sldChg>
      <pc:sldChg chg="addSp delSp modSp add mod">
        <pc:chgData name="Rosenstock, David" userId="0630889a-7007-47d2-8c1c-d553a13d3125" providerId="ADAL" clId="{FA120042-47B7-4BCF-9065-96F6408FBDFF}" dt="2021-12-16T17:28:46.894" v="2308" actId="1076"/>
        <pc:sldMkLst>
          <pc:docMk/>
          <pc:sldMk cId="3470449778" sldId="2076138475"/>
        </pc:sldMkLst>
        <pc:spChg chg="mod">
          <ac:chgData name="Rosenstock, David" userId="0630889a-7007-47d2-8c1c-d553a13d3125" providerId="ADAL" clId="{FA120042-47B7-4BCF-9065-96F6408FBDFF}" dt="2021-12-16T17:28:46.894" v="2308" actId="1076"/>
          <ac:spMkLst>
            <pc:docMk/>
            <pc:sldMk cId="3470449778" sldId="2076138475"/>
            <ac:spMk id="16" creationId="{E483F41A-A317-4C3D-A597-033C0C135392}"/>
          </ac:spMkLst>
        </pc:spChg>
        <pc:picChg chg="add mod">
          <ac:chgData name="Rosenstock, David" userId="0630889a-7007-47d2-8c1c-d553a13d3125" providerId="ADAL" clId="{FA120042-47B7-4BCF-9065-96F6408FBDFF}" dt="2021-12-16T17:28:28.830" v="2289" actId="1076"/>
          <ac:picMkLst>
            <pc:docMk/>
            <pc:sldMk cId="3470449778" sldId="2076138475"/>
            <ac:picMk id="3" creationId="{CDDDAB52-0E62-49E1-9FD3-6A6DCCFE4F70}"/>
          </ac:picMkLst>
        </pc:picChg>
        <pc:picChg chg="del">
          <ac:chgData name="Rosenstock, David" userId="0630889a-7007-47d2-8c1c-d553a13d3125" providerId="ADAL" clId="{FA120042-47B7-4BCF-9065-96F6408FBDFF}" dt="2021-12-16T17:28:16.626" v="2283" actId="478"/>
          <ac:picMkLst>
            <pc:docMk/>
            <pc:sldMk cId="3470449778" sldId="2076138475"/>
            <ac:picMk id="7" creationId="{B388FF10-1051-4518-BEFD-D5E1418B5347}"/>
          </ac:picMkLst>
        </pc:picChg>
      </pc:sldChg>
      <pc:sldChg chg="delSp modSp add mod">
        <pc:chgData name="Rosenstock, David" userId="0630889a-7007-47d2-8c1c-d553a13d3125" providerId="ADAL" clId="{FA120042-47B7-4BCF-9065-96F6408FBDFF}" dt="2021-12-16T19:27:36.372" v="2585" actId="478"/>
        <pc:sldMkLst>
          <pc:docMk/>
          <pc:sldMk cId="1200754142" sldId="2076138476"/>
        </pc:sldMkLst>
        <pc:spChg chg="del">
          <ac:chgData name="Rosenstock, David" userId="0630889a-7007-47d2-8c1c-d553a13d3125" providerId="ADAL" clId="{FA120042-47B7-4BCF-9065-96F6408FBDFF}" dt="2021-12-16T19:27:36.372" v="2585" actId="478"/>
          <ac:spMkLst>
            <pc:docMk/>
            <pc:sldMk cId="1200754142" sldId="2076138476"/>
            <ac:spMk id="5" creationId="{04738799-C819-459C-A995-D105416658F6}"/>
          </ac:spMkLst>
        </pc:spChg>
        <pc:spChg chg="del">
          <ac:chgData name="Rosenstock, David" userId="0630889a-7007-47d2-8c1c-d553a13d3125" providerId="ADAL" clId="{FA120042-47B7-4BCF-9065-96F6408FBDFF}" dt="2021-12-16T19:27:36.372" v="2585" actId="478"/>
          <ac:spMkLst>
            <pc:docMk/>
            <pc:sldMk cId="1200754142" sldId="2076138476"/>
            <ac:spMk id="7" creationId="{A9FDCABC-AEE6-4FE5-A250-A34B41BEFC6B}"/>
          </ac:spMkLst>
        </pc:spChg>
        <pc:spChg chg="mod">
          <ac:chgData name="Rosenstock, David" userId="0630889a-7007-47d2-8c1c-d553a13d3125" providerId="ADAL" clId="{FA120042-47B7-4BCF-9065-96F6408FBDFF}" dt="2021-12-16T19:27:34.858" v="2584" actId="20577"/>
          <ac:spMkLst>
            <pc:docMk/>
            <pc:sldMk cId="1200754142" sldId="2076138476"/>
            <ac:spMk id="511" creationId="{00000000-0000-0000-0000-000000000000}"/>
          </ac:spMkLst>
        </pc:spChg>
      </pc:sldChg>
      <pc:sldChg chg="modSp add mod ord modShow">
        <pc:chgData name="Rosenstock, David" userId="0630889a-7007-47d2-8c1c-d553a13d3125" providerId="ADAL" clId="{FA120042-47B7-4BCF-9065-96F6408FBDFF}" dt="2021-12-17T21:22:12.029" v="3515" actId="729"/>
        <pc:sldMkLst>
          <pc:docMk/>
          <pc:sldMk cId="3786101093" sldId="2076138477"/>
        </pc:sldMkLst>
        <pc:spChg chg="mod">
          <ac:chgData name="Rosenstock, David" userId="0630889a-7007-47d2-8c1c-d553a13d3125" providerId="ADAL" clId="{FA120042-47B7-4BCF-9065-96F6408FBDFF}" dt="2021-12-16T20:30:01.225" v="2732" actId="20577"/>
          <ac:spMkLst>
            <pc:docMk/>
            <pc:sldMk cId="3786101093" sldId="2076138477"/>
            <ac:spMk id="511" creationId="{00000000-0000-0000-0000-000000000000}"/>
          </ac:spMkLst>
        </pc:spChg>
      </pc:sldChg>
      <pc:sldChg chg="modSp add mod">
        <pc:chgData name="Rosenstock, David" userId="0630889a-7007-47d2-8c1c-d553a13d3125" providerId="ADAL" clId="{FA120042-47B7-4BCF-9065-96F6408FBDFF}" dt="2021-12-17T12:35:16.402" v="3448" actId="20577"/>
        <pc:sldMkLst>
          <pc:docMk/>
          <pc:sldMk cId="738311035" sldId="2076138479"/>
        </pc:sldMkLst>
        <pc:spChg chg="mod">
          <ac:chgData name="Rosenstock, David" userId="0630889a-7007-47d2-8c1c-d553a13d3125" providerId="ADAL" clId="{FA120042-47B7-4BCF-9065-96F6408FBDFF}" dt="2021-12-17T12:35:16.402" v="3448" actId="20577"/>
          <ac:spMkLst>
            <pc:docMk/>
            <pc:sldMk cId="738311035" sldId="2076138479"/>
            <ac:spMk id="2" creationId="{5947E540-D664-2248-A353-E17150691F3D}"/>
          </ac:spMkLst>
        </pc:spChg>
      </pc:sldChg>
      <pc:sldChg chg="addSp modSp mod">
        <pc:chgData name="Rosenstock, David" userId="0630889a-7007-47d2-8c1c-d553a13d3125" providerId="ADAL" clId="{FA120042-47B7-4BCF-9065-96F6408FBDFF}" dt="2021-12-17T15:55:52.166" v="3514" actId="1036"/>
        <pc:sldMkLst>
          <pc:docMk/>
          <pc:sldMk cId="572379146" sldId="2076138481"/>
        </pc:sldMkLst>
        <pc:spChg chg="add mod">
          <ac:chgData name="Rosenstock, David" userId="0630889a-7007-47d2-8c1c-d553a13d3125" providerId="ADAL" clId="{FA120042-47B7-4BCF-9065-96F6408FBDFF}" dt="2021-12-17T15:55:16.460" v="3502" actId="208"/>
          <ac:spMkLst>
            <pc:docMk/>
            <pc:sldMk cId="572379146" sldId="2076138481"/>
            <ac:spMk id="3" creationId="{4A13EAB8-A7B1-4649-8171-E342E66DA62E}"/>
          </ac:spMkLst>
        </pc:spChg>
        <pc:spChg chg="mod">
          <ac:chgData name="Rosenstock, David" userId="0630889a-7007-47d2-8c1c-d553a13d3125" providerId="ADAL" clId="{FA120042-47B7-4BCF-9065-96F6408FBDFF}" dt="2021-12-17T15:54:10.728" v="3483" actId="1076"/>
          <ac:spMkLst>
            <pc:docMk/>
            <pc:sldMk cId="572379146" sldId="2076138481"/>
            <ac:spMk id="5" creationId="{8B9BD1F5-3D8A-2E45-8092-F4C82A8D8223}"/>
          </ac:spMkLst>
        </pc:spChg>
        <pc:spChg chg="mod">
          <ac:chgData name="Rosenstock, David" userId="0630889a-7007-47d2-8c1c-d553a13d3125" providerId="ADAL" clId="{FA120042-47B7-4BCF-9065-96F6408FBDFF}" dt="2021-12-17T15:51:09.051" v="3461" actId="2711"/>
          <ac:spMkLst>
            <pc:docMk/>
            <pc:sldMk cId="572379146" sldId="2076138481"/>
            <ac:spMk id="511" creationId="{00000000-0000-0000-0000-000000000000}"/>
          </ac:spMkLst>
        </pc:spChg>
        <pc:graphicFrameChg chg="mod">
          <ac:chgData name="Rosenstock, David" userId="0630889a-7007-47d2-8c1c-d553a13d3125" providerId="ADAL" clId="{FA120042-47B7-4BCF-9065-96F6408FBDFF}" dt="2021-12-17T15:54:19.302" v="3495" actId="1038"/>
          <ac:graphicFrameMkLst>
            <pc:docMk/>
            <pc:sldMk cId="572379146" sldId="2076138481"/>
            <ac:graphicFrameMk id="4" creationId="{5083808D-4608-5942-8802-93260A22245D}"/>
          </ac:graphicFrameMkLst>
        </pc:graphicFrameChg>
        <pc:picChg chg="mod">
          <ac:chgData name="Rosenstock, David" userId="0630889a-7007-47d2-8c1c-d553a13d3125" providerId="ADAL" clId="{FA120042-47B7-4BCF-9065-96F6408FBDFF}" dt="2021-12-17T15:55:52.166" v="3514" actId="1036"/>
          <ac:picMkLst>
            <pc:docMk/>
            <pc:sldMk cId="572379146" sldId="2076138481"/>
            <ac:picMk id="2" creationId="{9CAE22A9-AFBF-3845-AD32-05F85D10DE09}"/>
          </ac:picMkLst>
        </pc:picChg>
      </pc:sldChg>
      <pc:sldChg chg="addSp modSp mod">
        <pc:chgData name="Rosenstock, David" userId="0630889a-7007-47d2-8c1c-d553a13d3125" providerId="ADAL" clId="{FA120042-47B7-4BCF-9065-96F6408FBDFF}" dt="2021-12-17T21:41:59.395" v="3572" actId="1036"/>
        <pc:sldMkLst>
          <pc:docMk/>
          <pc:sldMk cId="3556737562" sldId="2076138483"/>
        </pc:sldMkLst>
        <pc:spChg chg="mod">
          <ac:chgData name="Rosenstock, David" userId="0630889a-7007-47d2-8c1c-d553a13d3125" providerId="ADAL" clId="{FA120042-47B7-4BCF-9065-96F6408FBDFF}" dt="2021-12-17T21:41:50.699" v="3552" actId="164"/>
          <ac:spMkLst>
            <pc:docMk/>
            <pc:sldMk cId="3556737562" sldId="2076138483"/>
            <ac:spMk id="13" creationId="{7C3848BD-D91C-4DDB-BD21-97C67DCA643D}"/>
          </ac:spMkLst>
        </pc:spChg>
        <pc:spChg chg="mod">
          <ac:chgData name="Rosenstock, David" userId="0630889a-7007-47d2-8c1c-d553a13d3125" providerId="ADAL" clId="{FA120042-47B7-4BCF-9065-96F6408FBDFF}" dt="2021-12-17T21:41:50.699" v="3552" actId="164"/>
          <ac:spMkLst>
            <pc:docMk/>
            <pc:sldMk cId="3556737562" sldId="2076138483"/>
            <ac:spMk id="14" creationId="{DBB72897-5A1E-4E30-A407-9EACEFE91A3B}"/>
          </ac:spMkLst>
        </pc:spChg>
        <pc:spChg chg="mod">
          <ac:chgData name="Rosenstock, David" userId="0630889a-7007-47d2-8c1c-d553a13d3125" providerId="ADAL" clId="{FA120042-47B7-4BCF-9065-96F6408FBDFF}" dt="2021-12-17T21:41:50.699" v="3552" actId="164"/>
          <ac:spMkLst>
            <pc:docMk/>
            <pc:sldMk cId="3556737562" sldId="2076138483"/>
            <ac:spMk id="20" creationId="{74A57891-0C90-4A6E-8B3D-7FDEA694B60D}"/>
          </ac:spMkLst>
        </pc:spChg>
        <pc:grpChg chg="add mod">
          <ac:chgData name="Rosenstock, David" userId="0630889a-7007-47d2-8c1c-d553a13d3125" providerId="ADAL" clId="{FA120042-47B7-4BCF-9065-96F6408FBDFF}" dt="2021-12-17T21:41:59.395" v="3572" actId="1036"/>
          <ac:grpSpMkLst>
            <pc:docMk/>
            <pc:sldMk cId="3556737562" sldId="2076138483"/>
            <ac:grpSpMk id="6" creationId="{B2EAB6C0-9A3C-4944-8344-AF3C721FF1D4}"/>
          </ac:grpSpMkLst>
        </pc:grpChg>
        <pc:grpChg chg="mod">
          <ac:chgData name="Rosenstock, David" userId="0630889a-7007-47d2-8c1c-d553a13d3125" providerId="ADAL" clId="{FA120042-47B7-4BCF-9065-96F6408FBDFF}" dt="2021-12-17T21:41:50.699" v="3552" actId="164"/>
          <ac:grpSpMkLst>
            <pc:docMk/>
            <pc:sldMk cId="3556737562" sldId="2076138483"/>
            <ac:grpSpMk id="28" creationId="{19A517A1-6BD5-44CC-B9E0-8BB11965716C}"/>
          </ac:grpSpMkLst>
        </pc:grpChg>
      </pc:sldChg>
    </pc:docChg>
  </pc:docChgLst>
  <pc:docChgLst>
    <pc:chgData name="Lawrence, Paige" userId="3b7317d7-ab12-4fe7-b0df-5840b7718ae8" providerId="ADAL" clId="{F26AFFEC-9136-4C0F-9368-E871CE1FC4F9}"/>
    <pc:docChg chg="undo redo custSel addSld delSld modSld sldOrd modMainMaster replTag">
      <pc:chgData name="Lawrence, Paige" userId="3b7317d7-ab12-4fe7-b0df-5840b7718ae8" providerId="ADAL" clId="{F26AFFEC-9136-4C0F-9368-E871CE1FC4F9}" dt="2021-12-17T21:41:34.201" v="3302" actId="1076"/>
      <pc:docMkLst>
        <pc:docMk/>
      </pc:docMkLst>
      <pc:sldChg chg="addSp delSp modSp mod">
        <pc:chgData name="Lawrence, Paige" userId="3b7317d7-ab12-4fe7-b0df-5840b7718ae8" providerId="ADAL" clId="{F26AFFEC-9136-4C0F-9368-E871CE1FC4F9}" dt="2021-12-07T15:26:03.507" v="212" actId="20577"/>
        <pc:sldMkLst>
          <pc:docMk/>
          <pc:sldMk cId="203921561" sldId="256"/>
        </pc:sldMkLst>
        <pc:spChg chg="mod">
          <ac:chgData name="Lawrence, Paige" userId="3b7317d7-ab12-4fe7-b0df-5840b7718ae8" providerId="ADAL" clId="{F26AFFEC-9136-4C0F-9368-E871CE1FC4F9}" dt="2021-12-07T15:25:57.175" v="142" actId="948"/>
          <ac:spMkLst>
            <pc:docMk/>
            <pc:sldMk cId="203921561" sldId="256"/>
            <ac:spMk id="2" creationId="{EC570BEA-7585-4118-ABB0-F7D4ECC352C8}"/>
          </ac:spMkLst>
        </pc:spChg>
        <pc:spChg chg="mod">
          <ac:chgData name="Lawrence, Paige" userId="3b7317d7-ab12-4fe7-b0df-5840b7718ae8" providerId="ADAL" clId="{F26AFFEC-9136-4C0F-9368-E871CE1FC4F9}" dt="2021-12-07T15:26:03.507" v="212" actId="20577"/>
          <ac:spMkLst>
            <pc:docMk/>
            <pc:sldMk cId="203921561" sldId="256"/>
            <ac:spMk id="3" creationId="{A6319AC2-2BE3-4711-BA08-1CDE070586BE}"/>
          </ac:spMkLst>
        </pc:spChg>
        <pc:spChg chg="add del mod modVis">
          <ac:chgData name="Lawrence, Paige" userId="3b7317d7-ab12-4fe7-b0df-5840b7718ae8" providerId="ADAL" clId="{F26AFFEC-9136-4C0F-9368-E871CE1FC4F9}" dt="2021-12-07T15:25:52.789" v="119"/>
          <ac:spMkLst>
            <pc:docMk/>
            <pc:sldMk cId="203921561" sldId="256"/>
            <ac:spMk id="5" creationId="{AA0B35FD-573D-4C68-A76C-E33896D97319}"/>
          </ac:spMkLst>
        </pc:spChg>
        <pc:spChg chg="add del mod modVis">
          <ac:chgData name="Lawrence, Paige" userId="3b7317d7-ab12-4fe7-b0df-5840b7718ae8" providerId="ADAL" clId="{F26AFFEC-9136-4C0F-9368-E871CE1FC4F9}" dt="2021-12-07T15:25:57.202" v="182"/>
          <ac:spMkLst>
            <pc:docMk/>
            <pc:sldMk cId="203921561" sldId="256"/>
            <ac:spMk id="6" creationId="{790291CF-E950-4092-B093-0D1AD4A10FF4}"/>
          </ac:spMkLst>
        </pc:spChg>
        <pc:graphicFrameChg chg="add mod ord modVis replST">
          <ac:chgData name="Lawrence, Paige" userId="3b7317d7-ab12-4fe7-b0df-5840b7718ae8" providerId="ADAL" clId="{F26AFFEC-9136-4C0F-9368-E871CE1FC4F9}" dt="2021-12-07T15:25:57.204" v="184"/>
          <ac:graphicFrameMkLst>
            <pc:docMk/>
            <pc:sldMk cId="203921561" sldId="256"/>
            <ac:graphicFrameMk id="4" creationId="{F243E550-F933-492D-B5C0-AC79B7B62082}"/>
          </ac:graphicFrameMkLst>
        </pc:graphicFrameChg>
      </pc:sldChg>
      <pc:sldChg chg="addSp modSp new add del mod">
        <pc:chgData name="Lawrence, Paige" userId="3b7317d7-ab12-4fe7-b0df-5840b7718ae8" providerId="ADAL" clId="{F26AFFEC-9136-4C0F-9368-E871CE1FC4F9}" dt="2021-12-17T21:36:49.674" v="3281" actId="2696"/>
        <pc:sldMkLst>
          <pc:docMk/>
          <pc:sldMk cId="848527742" sldId="257"/>
        </pc:sldMkLst>
        <pc:spChg chg="mod">
          <ac:chgData name="Lawrence, Paige" userId="3b7317d7-ab12-4fe7-b0df-5840b7718ae8" providerId="ADAL" clId="{F26AFFEC-9136-4C0F-9368-E871CE1FC4F9}" dt="2021-12-07T15:26:20.575" v="243" actId="948"/>
          <ac:spMkLst>
            <pc:docMk/>
            <pc:sldMk cId="848527742" sldId="257"/>
            <ac:spMk id="2" creationId="{690D8127-1F1F-4182-9EF1-6D5E13395448}"/>
          </ac:spMkLst>
        </pc:spChg>
        <pc:spChg chg="mod">
          <ac:chgData name="Lawrence, Paige" userId="3b7317d7-ab12-4fe7-b0df-5840b7718ae8" providerId="ADAL" clId="{F26AFFEC-9136-4C0F-9368-E871CE1FC4F9}" dt="2021-12-07T15:27:00.338" v="328" actId="313"/>
          <ac:spMkLst>
            <pc:docMk/>
            <pc:sldMk cId="848527742" sldId="257"/>
            <ac:spMk id="3" creationId="{B2779B1A-3DE4-4ED4-8C82-945725299450}"/>
          </ac:spMkLst>
        </pc:spChg>
        <pc:graphicFrameChg chg="add mod ord modVis replST">
          <ac:chgData name="Lawrence, Paige" userId="3b7317d7-ab12-4fe7-b0df-5840b7718ae8" providerId="ADAL" clId="{F26AFFEC-9136-4C0F-9368-E871CE1FC4F9}" dt="2021-12-07T15:26:20.575" v="246"/>
          <ac:graphicFrameMkLst>
            <pc:docMk/>
            <pc:sldMk cId="848527742" sldId="257"/>
            <ac:graphicFrameMk id="4" creationId="{9E0C930D-6EA0-46D5-942D-7B0B09895B1A}"/>
          </ac:graphicFrameMkLst>
        </pc:graphicFrameChg>
      </pc:sldChg>
      <pc:sldChg chg="addSp delSp modSp new add del mod">
        <pc:chgData name="Lawrence, Paige" userId="3b7317d7-ab12-4fe7-b0df-5840b7718ae8" providerId="ADAL" clId="{F26AFFEC-9136-4C0F-9368-E871CE1FC4F9}" dt="2021-12-17T21:36:51.730" v="3282" actId="2696"/>
        <pc:sldMkLst>
          <pc:docMk/>
          <pc:sldMk cId="4045745438" sldId="258"/>
        </pc:sldMkLst>
        <pc:spChg chg="mod">
          <ac:chgData name="Lawrence, Paige" userId="3b7317d7-ab12-4fe7-b0df-5840b7718ae8" providerId="ADAL" clId="{F26AFFEC-9136-4C0F-9368-E871CE1FC4F9}" dt="2021-12-07T15:29:02.924" v="343" actId="948"/>
          <ac:spMkLst>
            <pc:docMk/>
            <pc:sldMk cId="4045745438" sldId="258"/>
            <ac:spMk id="2" creationId="{9A4473D0-3D0D-4789-9694-5EE7BB968BA5}"/>
          </ac:spMkLst>
        </pc:spChg>
        <pc:spChg chg="mod">
          <ac:chgData name="Lawrence, Paige" userId="3b7317d7-ab12-4fe7-b0df-5840b7718ae8" providerId="ADAL" clId="{F26AFFEC-9136-4C0F-9368-E871CE1FC4F9}" dt="2021-12-07T16:02:41.004" v="999" actId="20577"/>
          <ac:spMkLst>
            <pc:docMk/>
            <pc:sldMk cId="4045745438" sldId="258"/>
            <ac:spMk id="3" creationId="{8E30DF72-ADBA-4A08-8059-AEF3ABF6BACA}"/>
          </ac:spMkLst>
        </pc:spChg>
        <pc:spChg chg="add del mod modVis">
          <ac:chgData name="Lawrence, Paige" userId="3b7317d7-ab12-4fe7-b0df-5840b7718ae8" providerId="ADAL" clId="{F26AFFEC-9136-4C0F-9368-E871CE1FC4F9}" dt="2021-12-07T15:29:02.965" v="383"/>
          <ac:spMkLst>
            <pc:docMk/>
            <pc:sldMk cId="4045745438" sldId="258"/>
            <ac:spMk id="4" creationId="{6C0DC57B-EFDB-4FF2-860E-76B7551AD7E5}"/>
          </ac:spMkLst>
        </pc:spChg>
        <pc:graphicFrameChg chg="add mod ord modVis replST">
          <ac:chgData name="Lawrence, Paige" userId="3b7317d7-ab12-4fe7-b0df-5840b7718ae8" providerId="ADAL" clId="{F26AFFEC-9136-4C0F-9368-E871CE1FC4F9}" dt="2021-12-07T15:29:02.985" v="399"/>
          <ac:graphicFrameMkLst>
            <pc:docMk/>
            <pc:sldMk cId="4045745438" sldId="258"/>
            <ac:graphicFrameMk id="5" creationId="{7DCD0900-5F76-4DBE-8C7F-6061AF3BC1EF}"/>
          </ac:graphicFrameMkLst>
        </pc:graphicFrameChg>
      </pc:sldChg>
      <pc:sldChg chg="addSp delSp modSp new add del mod">
        <pc:chgData name="Lawrence, Paige" userId="3b7317d7-ab12-4fe7-b0df-5840b7718ae8" providerId="ADAL" clId="{F26AFFEC-9136-4C0F-9368-E871CE1FC4F9}" dt="2021-12-17T21:36:53.912" v="3283" actId="2696"/>
        <pc:sldMkLst>
          <pc:docMk/>
          <pc:sldMk cId="3078431255" sldId="259"/>
        </pc:sldMkLst>
        <pc:spChg chg="mod">
          <ac:chgData name="Lawrence, Paige" userId="3b7317d7-ab12-4fe7-b0df-5840b7718ae8" providerId="ADAL" clId="{F26AFFEC-9136-4C0F-9368-E871CE1FC4F9}" dt="2021-12-07T15:46:38.290" v="505" actId="948"/>
          <ac:spMkLst>
            <pc:docMk/>
            <pc:sldMk cId="3078431255" sldId="259"/>
            <ac:spMk id="2" creationId="{71099C92-44A7-452B-966E-40B16C0C5CE6}"/>
          </ac:spMkLst>
        </pc:spChg>
        <pc:spChg chg="mod">
          <ac:chgData name="Lawrence, Paige" userId="3b7317d7-ab12-4fe7-b0df-5840b7718ae8" providerId="ADAL" clId="{F26AFFEC-9136-4C0F-9368-E871CE1FC4F9}" dt="2021-12-07T15:49:57.414" v="681" actId="20577"/>
          <ac:spMkLst>
            <pc:docMk/>
            <pc:sldMk cId="3078431255" sldId="259"/>
            <ac:spMk id="3" creationId="{AF1C4326-A0EA-45EC-B770-413639A517DD}"/>
          </ac:spMkLst>
        </pc:spChg>
        <pc:spChg chg="add del mod modVis">
          <ac:chgData name="Lawrence, Paige" userId="3b7317d7-ab12-4fe7-b0df-5840b7718ae8" providerId="ADAL" clId="{F26AFFEC-9136-4C0F-9368-E871CE1FC4F9}" dt="2021-12-07T15:46:38.344" v="545"/>
          <ac:spMkLst>
            <pc:docMk/>
            <pc:sldMk cId="3078431255" sldId="259"/>
            <ac:spMk id="4" creationId="{079CEE98-E0C5-4876-BAF6-4545B6593F59}"/>
          </ac:spMkLst>
        </pc:spChg>
        <pc:graphicFrameChg chg="add mod ord modVis replST">
          <ac:chgData name="Lawrence, Paige" userId="3b7317d7-ab12-4fe7-b0df-5840b7718ae8" providerId="ADAL" clId="{F26AFFEC-9136-4C0F-9368-E871CE1FC4F9}" dt="2021-12-07T15:46:38.380" v="561"/>
          <ac:graphicFrameMkLst>
            <pc:docMk/>
            <pc:sldMk cId="3078431255" sldId="259"/>
            <ac:graphicFrameMk id="5" creationId="{9E5BEC9C-28D5-4D0E-8729-CC2AA82421A8}"/>
          </ac:graphicFrameMkLst>
        </pc:graphicFrameChg>
      </pc:sldChg>
      <pc:sldChg chg="ord">
        <pc:chgData name="Lawrence, Paige" userId="3b7317d7-ab12-4fe7-b0df-5840b7718ae8" providerId="ADAL" clId="{F26AFFEC-9136-4C0F-9368-E871CE1FC4F9}" dt="2021-12-16T16:07:36.890" v="2277"/>
        <pc:sldMkLst>
          <pc:docMk/>
          <pc:sldMk cId="2202518655" sldId="2076138455"/>
        </pc:sldMkLst>
      </pc:sldChg>
      <pc:sldChg chg="ord">
        <pc:chgData name="Lawrence, Paige" userId="3b7317d7-ab12-4fe7-b0df-5840b7718ae8" providerId="ADAL" clId="{F26AFFEC-9136-4C0F-9368-E871CE1FC4F9}" dt="2021-12-16T16:07:36.890" v="2277"/>
        <pc:sldMkLst>
          <pc:docMk/>
          <pc:sldMk cId="257380017" sldId="2076138456"/>
        </pc:sldMkLst>
      </pc:sldChg>
      <pc:sldChg chg="ord">
        <pc:chgData name="Lawrence, Paige" userId="3b7317d7-ab12-4fe7-b0df-5840b7718ae8" providerId="ADAL" clId="{F26AFFEC-9136-4C0F-9368-E871CE1FC4F9}" dt="2021-12-16T16:07:36.890" v="2277"/>
        <pc:sldMkLst>
          <pc:docMk/>
          <pc:sldMk cId="700120364" sldId="2076138459"/>
        </pc:sldMkLst>
      </pc:sldChg>
      <pc:sldChg chg="addSp delSp modSp new add mod">
        <pc:chgData name="Lawrence, Paige" userId="3b7317d7-ab12-4fe7-b0df-5840b7718ae8" providerId="ADAL" clId="{F26AFFEC-9136-4C0F-9368-E871CE1FC4F9}" dt="2021-12-16T16:05:45.716" v="2077" actId="27636"/>
        <pc:sldMkLst>
          <pc:docMk/>
          <pc:sldMk cId="1558992902" sldId="2076138460"/>
        </pc:sldMkLst>
        <pc:spChg chg="mod">
          <ac:chgData name="Lawrence, Paige" userId="3b7317d7-ab12-4fe7-b0df-5840b7718ae8" providerId="ADAL" clId="{F26AFFEC-9136-4C0F-9368-E871CE1FC4F9}" dt="2021-12-16T15:35:07.624" v="1210" actId="948"/>
          <ac:spMkLst>
            <pc:docMk/>
            <pc:sldMk cId="1558992902" sldId="2076138460"/>
            <ac:spMk id="2" creationId="{0C13BC4B-B451-48FB-B94E-7352364DD451}"/>
          </ac:spMkLst>
        </pc:spChg>
        <pc:spChg chg="mod">
          <ac:chgData name="Lawrence, Paige" userId="3b7317d7-ab12-4fe7-b0df-5840b7718ae8" providerId="ADAL" clId="{F26AFFEC-9136-4C0F-9368-E871CE1FC4F9}" dt="2021-12-16T16:05:45.716" v="2077" actId="27636"/>
          <ac:spMkLst>
            <pc:docMk/>
            <pc:sldMk cId="1558992902" sldId="2076138460"/>
            <ac:spMk id="3" creationId="{82534F3A-0F1E-4028-B3A9-E30684F6A1D1}"/>
          </ac:spMkLst>
        </pc:spChg>
        <pc:spChg chg="add del mod modVis">
          <ac:chgData name="Lawrence, Paige" userId="3b7317d7-ab12-4fe7-b0df-5840b7718ae8" providerId="ADAL" clId="{F26AFFEC-9136-4C0F-9368-E871CE1FC4F9}" dt="2021-12-16T15:35:07.696" v="1250"/>
          <ac:spMkLst>
            <pc:docMk/>
            <pc:sldMk cId="1558992902" sldId="2076138460"/>
            <ac:spMk id="5" creationId="{02219BE3-87B5-4521-B0DB-AEF8A25B349E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5:35:07.703" v="1252"/>
          <ac:graphicFrameMkLst>
            <pc:docMk/>
            <pc:sldMk cId="1558992902" sldId="2076138460"/>
            <ac:graphicFrameMk id="4" creationId="{84E8F87B-074A-451C-93C6-7D3B08F596F1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5:57:59.093" v="1599" actId="20577"/>
        <pc:sldMkLst>
          <pc:docMk/>
          <pc:sldMk cId="3349007123" sldId="2076138461"/>
        </pc:sldMkLst>
        <pc:spChg chg="mod">
          <ac:chgData name="Lawrence, Paige" userId="3b7317d7-ab12-4fe7-b0df-5840b7718ae8" providerId="ADAL" clId="{F26AFFEC-9136-4C0F-9368-E871CE1FC4F9}" dt="2021-12-16T15:57:48.479" v="1521" actId="948"/>
          <ac:spMkLst>
            <pc:docMk/>
            <pc:sldMk cId="3349007123" sldId="2076138461"/>
            <ac:spMk id="2" creationId="{4E63673B-F880-42E2-83D0-B0149948858A}"/>
          </ac:spMkLst>
        </pc:spChg>
        <pc:spChg chg="mod">
          <ac:chgData name="Lawrence, Paige" userId="3b7317d7-ab12-4fe7-b0df-5840b7718ae8" providerId="ADAL" clId="{F26AFFEC-9136-4C0F-9368-E871CE1FC4F9}" dt="2021-12-16T15:57:59.093" v="1599" actId="20577"/>
          <ac:spMkLst>
            <pc:docMk/>
            <pc:sldMk cId="3349007123" sldId="2076138461"/>
            <ac:spMk id="3" creationId="{174E447C-BA30-4935-9985-3C7888019DE7}"/>
          </ac:spMkLst>
        </pc:spChg>
        <pc:spChg chg="add del mod modVis">
          <ac:chgData name="Lawrence, Paige" userId="3b7317d7-ab12-4fe7-b0df-5840b7718ae8" providerId="ADAL" clId="{F26AFFEC-9136-4C0F-9368-E871CE1FC4F9}" dt="2021-12-16T15:57:37.231" v="1393"/>
          <ac:spMkLst>
            <pc:docMk/>
            <pc:sldMk cId="3349007123" sldId="2076138461"/>
            <ac:spMk id="4" creationId="{EEAD5EEA-DD97-4492-8845-2897E6184186}"/>
          </ac:spMkLst>
        </pc:spChg>
        <pc:spChg chg="add del mod modVis">
          <ac:chgData name="Lawrence, Paige" userId="3b7317d7-ab12-4fe7-b0df-5840b7718ae8" providerId="ADAL" clId="{F26AFFEC-9136-4C0F-9368-E871CE1FC4F9}" dt="2021-12-16T15:57:41.565" v="1452"/>
          <ac:spMkLst>
            <pc:docMk/>
            <pc:sldMk cId="3349007123" sldId="2076138461"/>
            <ac:spMk id="6" creationId="{C91C46A4-39A5-4C99-9D59-8A689B6F04EC}"/>
          </ac:spMkLst>
        </pc:spChg>
        <pc:spChg chg="add del mod modVis">
          <ac:chgData name="Lawrence, Paige" userId="3b7317d7-ab12-4fe7-b0df-5840b7718ae8" providerId="ADAL" clId="{F26AFFEC-9136-4C0F-9368-E871CE1FC4F9}" dt="2021-12-16T15:57:45.646" v="1516"/>
          <ac:spMkLst>
            <pc:docMk/>
            <pc:sldMk cId="3349007123" sldId="2076138461"/>
            <ac:spMk id="7" creationId="{48FC26B1-D6B5-42D9-A7CB-5655D260B66A}"/>
          </ac:spMkLst>
        </pc:spChg>
        <pc:spChg chg="add del mod modVis">
          <ac:chgData name="Lawrence, Paige" userId="3b7317d7-ab12-4fe7-b0df-5840b7718ae8" providerId="ADAL" clId="{F26AFFEC-9136-4C0F-9368-E871CE1FC4F9}" dt="2021-12-16T15:57:48.522" v="1561"/>
          <ac:spMkLst>
            <pc:docMk/>
            <pc:sldMk cId="3349007123" sldId="2076138461"/>
            <ac:spMk id="8" creationId="{8755F45F-CC36-4E79-9A22-2D7CE8F535C2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5:57:48.524" v="1563"/>
          <ac:graphicFrameMkLst>
            <pc:docMk/>
            <pc:sldMk cId="3349007123" sldId="2076138461"/>
            <ac:graphicFrameMk id="5" creationId="{F52CB319-044B-47F6-B433-0263A0529AEE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5:58:56.405" v="1757" actId="20577"/>
        <pc:sldMkLst>
          <pc:docMk/>
          <pc:sldMk cId="1550173765" sldId="2076138462"/>
        </pc:sldMkLst>
        <pc:spChg chg="mod">
          <ac:chgData name="Lawrence, Paige" userId="3b7317d7-ab12-4fe7-b0df-5840b7718ae8" providerId="ADAL" clId="{F26AFFEC-9136-4C0F-9368-E871CE1FC4F9}" dt="2021-12-16T15:58:47.400" v="1688" actId="948"/>
          <ac:spMkLst>
            <pc:docMk/>
            <pc:sldMk cId="1550173765" sldId="2076138462"/>
            <ac:spMk id="2" creationId="{358013B2-A06D-40B1-B444-174B385CB2A4}"/>
          </ac:spMkLst>
        </pc:spChg>
        <pc:spChg chg="mod">
          <ac:chgData name="Lawrence, Paige" userId="3b7317d7-ab12-4fe7-b0df-5840b7718ae8" providerId="ADAL" clId="{F26AFFEC-9136-4C0F-9368-E871CE1FC4F9}" dt="2021-12-16T15:58:56.405" v="1757" actId="20577"/>
          <ac:spMkLst>
            <pc:docMk/>
            <pc:sldMk cId="1550173765" sldId="2076138462"/>
            <ac:spMk id="3" creationId="{53B92DE0-9A2C-442C-841A-9D5F1EF7FCE4}"/>
          </ac:spMkLst>
        </pc:spChg>
        <pc:spChg chg="add del mod modVis">
          <ac:chgData name="Lawrence, Paige" userId="3b7317d7-ab12-4fe7-b0df-5840b7718ae8" providerId="ADAL" clId="{F26AFFEC-9136-4C0F-9368-E871CE1FC4F9}" dt="2021-12-16T15:58:44.694" v="1669"/>
          <ac:spMkLst>
            <pc:docMk/>
            <pc:sldMk cId="1550173765" sldId="2076138462"/>
            <ac:spMk id="4" creationId="{006CFDCB-DA65-4F1E-8B8C-CF1F7E9B255F}"/>
          </ac:spMkLst>
        </pc:spChg>
        <pc:spChg chg="add del mod modVis">
          <ac:chgData name="Lawrence, Paige" userId="3b7317d7-ab12-4fe7-b0df-5840b7718ae8" providerId="ADAL" clId="{F26AFFEC-9136-4C0F-9368-E871CE1FC4F9}" dt="2021-12-16T15:58:47.437" v="1728"/>
          <ac:spMkLst>
            <pc:docMk/>
            <pc:sldMk cId="1550173765" sldId="2076138462"/>
            <ac:spMk id="6" creationId="{A028979E-AA77-4172-9260-AEA54D028598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5:58:47.440" v="1730"/>
          <ac:graphicFrameMkLst>
            <pc:docMk/>
            <pc:sldMk cId="1550173765" sldId="2076138462"/>
            <ac:graphicFrameMk id="5" creationId="{3BCFA072-2FC4-4E75-BB30-3425F7560FCA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6:09:54.720" v="2868" actId="313"/>
        <pc:sldMkLst>
          <pc:docMk/>
          <pc:sldMk cId="3889654241" sldId="2076138463"/>
        </pc:sldMkLst>
        <pc:spChg chg="mod">
          <ac:chgData name="Lawrence, Paige" userId="3b7317d7-ab12-4fe7-b0df-5840b7718ae8" providerId="ADAL" clId="{F26AFFEC-9136-4C0F-9368-E871CE1FC4F9}" dt="2021-12-16T16:08:31.645" v="2578" actId="948"/>
          <ac:spMkLst>
            <pc:docMk/>
            <pc:sldMk cId="3889654241" sldId="2076138463"/>
            <ac:spMk id="2" creationId="{0C5AB18B-C4AF-4988-A16B-2A25931DC359}"/>
          </ac:spMkLst>
        </pc:spChg>
        <pc:spChg chg="mod">
          <ac:chgData name="Lawrence, Paige" userId="3b7317d7-ab12-4fe7-b0df-5840b7718ae8" providerId="ADAL" clId="{F26AFFEC-9136-4C0F-9368-E871CE1FC4F9}" dt="2021-12-16T16:09:54.720" v="2868" actId="313"/>
          <ac:spMkLst>
            <pc:docMk/>
            <pc:sldMk cId="3889654241" sldId="2076138463"/>
            <ac:spMk id="3" creationId="{8EAECA20-7BDA-48C5-BAB1-D7242A1C32EB}"/>
          </ac:spMkLst>
        </pc:spChg>
        <pc:spChg chg="add del mod modVis">
          <ac:chgData name="Lawrence, Paige" userId="3b7317d7-ab12-4fe7-b0df-5840b7718ae8" providerId="ADAL" clId="{F26AFFEC-9136-4C0F-9368-E871CE1FC4F9}" dt="2021-12-16T16:04:58.889" v="1894"/>
          <ac:spMkLst>
            <pc:docMk/>
            <pc:sldMk cId="3889654241" sldId="2076138463"/>
            <ac:spMk id="4" creationId="{AEC2DCE5-6CC9-4359-B2BC-E470F10E7DEB}"/>
          </ac:spMkLst>
        </pc:spChg>
        <pc:spChg chg="add del mod modVis">
          <ac:chgData name="Lawrence, Paige" userId="3b7317d7-ab12-4fe7-b0df-5840b7718ae8" providerId="ADAL" clId="{F26AFFEC-9136-4C0F-9368-E871CE1FC4F9}" dt="2021-12-16T16:05:04.422" v="1967"/>
          <ac:spMkLst>
            <pc:docMk/>
            <pc:sldMk cId="3889654241" sldId="2076138463"/>
            <ac:spMk id="6" creationId="{061F3B77-2216-426D-A872-22ED56E2B7F7}"/>
          </ac:spMkLst>
        </pc:spChg>
        <pc:spChg chg="add del mod modVis">
          <ac:chgData name="Lawrence, Paige" userId="3b7317d7-ab12-4fe7-b0df-5840b7718ae8" providerId="ADAL" clId="{F26AFFEC-9136-4C0F-9368-E871CE1FC4F9}" dt="2021-12-16T16:05:23.930" v="2045"/>
          <ac:spMkLst>
            <pc:docMk/>
            <pc:sldMk cId="3889654241" sldId="2076138463"/>
            <ac:spMk id="7" creationId="{D3021432-DBC5-47FD-84F9-D20366166448}"/>
          </ac:spMkLst>
        </pc:spChg>
        <pc:spChg chg="add del mod modVis">
          <ac:chgData name="Lawrence, Paige" userId="3b7317d7-ab12-4fe7-b0df-5840b7718ae8" providerId="ADAL" clId="{F26AFFEC-9136-4C0F-9368-E871CE1FC4F9}" dt="2021-12-16T16:08:24.064" v="2486"/>
          <ac:spMkLst>
            <pc:docMk/>
            <pc:sldMk cId="3889654241" sldId="2076138463"/>
            <ac:spMk id="8" creationId="{F1F7C05D-9B36-4C49-BD35-04F7D01A2781}"/>
          </ac:spMkLst>
        </pc:spChg>
        <pc:spChg chg="add del mod modVis">
          <ac:chgData name="Lawrence, Paige" userId="3b7317d7-ab12-4fe7-b0df-5840b7718ae8" providerId="ADAL" clId="{F26AFFEC-9136-4C0F-9368-E871CE1FC4F9}" dt="2021-12-16T16:08:26.145" v="2530"/>
          <ac:spMkLst>
            <pc:docMk/>
            <pc:sldMk cId="3889654241" sldId="2076138463"/>
            <ac:spMk id="9" creationId="{2D2E3482-49FA-4332-9924-3F5839427A4A}"/>
          </ac:spMkLst>
        </pc:spChg>
        <pc:spChg chg="add del mod modVis">
          <ac:chgData name="Lawrence, Paige" userId="3b7317d7-ab12-4fe7-b0df-5840b7718ae8" providerId="ADAL" clId="{F26AFFEC-9136-4C0F-9368-E871CE1FC4F9}" dt="2021-12-16T16:08:27.919" v="2574"/>
          <ac:spMkLst>
            <pc:docMk/>
            <pc:sldMk cId="3889654241" sldId="2076138463"/>
            <ac:spMk id="10" creationId="{95BE1B29-C203-4C64-92F3-E09DCB236614}"/>
          </ac:spMkLst>
        </pc:spChg>
        <pc:spChg chg="add del mod modVis">
          <ac:chgData name="Lawrence, Paige" userId="3b7317d7-ab12-4fe7-b0df-5840b7718ae8" providerId="ADAL" clId="{F26AFFEC-9136-4C0F-9368-E871CE1FC4F9}" dt="2021-12-16T16:08:31.689" v="2618"/>
          <ac:spMkLst>
            <pc:docMk/>
            <pc:sldMk cId="3889654241" sldId="2076138463"/>
            <ac:spMk id="11" creationId="{0E9B864E-4435-4C72-BDEA-A5E71130D74E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6:08:31.692" v="2620"/>
          <ac:graphicFrameMkLst>
            <pc:docMk/>
            <pc:sldMk cId="3889654241" sldId="2076138463"/>
            <ac:graphicFrameMk id="5" creationId="{3E2EF7B4-4BBE-4BE7-B7DF-559E7BED44D1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6:09:26.051" v="2820"/>
        <pc:sldMkLst>
          <pc:docMk/>
          <pc:sldMk cId="919146887" sldId="2076138464"/>
        </pc:sldMkLst>
        <pc:spChg chg="mod">
          <ac:chgData name="Lawrence, Paige" userId="3b7317d7-ab12-4fe7-b0df-5840b7718ae8" providerId="ADAL" clId="{F26AFFEC-9136-4C0F-9368-E871CE1FC4F9}" dt="2021-12-16T16:09:26.004" v="2778" actId="948"/>
          <ac:spMkLst>
            <pc:docMk/>
            <pc:sldMk cId="919146887" sldId="2076138464"/>
            <ac:spMk id="2" creationId="{936A031E-9EAE-48E5-AC95-E2C201002A7F}"/>
          </ac:spMkLst>
        </pc:spChg>
        <pc:spChg chg="mod">
          <ac:chgData name="Lawrence, Paige" userId="3b7317d7-ab12-4fe7-b0df-5840b7718ae8" providerId="ADAL" clId="{F26AFFEC-9136-4C0F-9368-E871CE1FC4F9}" dt="2021-12-16T16:06:40.787" v="2157"/>
          <ac:spMkLst>
            <pc:docMk/>
            <pc:sldMk cId="919146887" sldId="2076138464"/>
            <ac:spMk id="3" creationId="{180EF28D-2D8A-4EC2-8542-38CDC925DA1B}"/>
          </ac:spMkLst>
        </pc:spChg>
        <pc:spChg chg="add del mod modVis">
          <ac:chgData name="Lawrence, Paige" userId="3b7317d7-ab12-4fe7-b0df-5840b7718ae8" providerId="ADAL" clId="{F26AFFEC-9136-4C0F-9368-E871CE1FC4F9}" dt="2021-12-16T16:06:35.673" v="2154"/>
          <ac:spMkLst>
            <pc:docMk/>
            <pc:sldMk cId="919146887" sldId="2076138464"/>
            <ac:spMk id="5" creationId="{B070DB35-BF8F-4451-8C9C-6A0FF0C65C26}"/>
          </ac:spMkLst>
        </pc:spChg>
        <pc:spChg chg="add del mod modVis">
          <ac:chgData name="Lawrence, Paige" userId="3b7317d7-ab12-4fe7-b0df-5840b7718ae8" providerId="ADAL" clId="{F26AFFEC-9136-4C0F-9368-E871CE1FC4F9}" dt="2021-12-16T16:09:25.300" v="2774"/>
          <ac:spMkLst>
            <pc:docMk/>
            <pc:sldMk cId="919146887" sldId="2076138464"/>
            <ac:spMk id="6" creationId="{0B2FFC1B-751A-40DA-A840-847805826780}"/>
          </ac:spMkLst>
        </pc:spChg>
        <pc:spChg chg="add del mod modVis">
          <ac:chgData name="Lawrence, Paige" userId="3b7317d7-ab12-4fe7-b0df-5840b7718ae8" providerId="ADAL" clId="{F26AFFEC-9136-4C0F-9368-E871CE1FC4F9}" dt="2021-12-16T16:09:26.048" v="2818"/>
          <ac:spMkLst>
            <pc:docMk/>
            <pc:sldMk cId="919146887" sldId="2076138464"/>
            <ac:spMk id="7" creationId="{BC4B2E3F-D851-454A-8CE5-7A03807AB722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6:09:26.051" v="2820"/>
          <ac:graphicFrameMkLst>
            <pc:docMk/>
            <pc:sldMk cId="919146887" sldId="2076138464"/>
            <ac:graphicFrameMk id="4" creationId="{A6A00411-BD98-46D2-B681-F79C70ABDCE4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6:08:07.876" v="2419"/>
        <pc:sldMkLst>
          <pc:docMk/>
          <pc:sldMk cId="1742332029" sldId="2076138465"/>
        </pc:sldMkLst>
        <pc:spChg chg="mod">
          <ac:chgData name="Lawrence, Paige" userId="3b7317d7-ab12-4fe7-b0df-5840b7718ae8" providerId="ADAL" clId="{F26AFFEC-9136-4C0F-9368-E871CE1FC4F9}" dt="2021-12-16T16:08:07.838" v="2377" actId="948"/>
          <ac:spMkLst>
            <pc:docMk/>
            <pc:sldMk cId="1742332029" sldId="2076138465"/>
            <ac:spMk id="2" creationId="{73848CC3-E3E4-42DD-8B2A-DF087E6681CC}"/>
          </ac:spMkLst>
        </pc:spChg>
        <pc:spChg chg="add del mod modVis">
          <ac:chgData name="Lawrence, Paige" userId="3b7317d7-ab12-4fe7-b0df-5840b7718ae8" providerId="ADAL" clId="{F26AFFEC-9136-4C0F-9368-E871CE1FC4F9}" dt="2021-12-16T16:06:48.443" v="2206"/>
          <ac:spMkLst>
            <pc:docMk/>
            <pc:sldMk cId="1742332029" sldId="2076138465"/>
            <ac:spMk id="4" creationId="{F8791A39-C41C-4DDA-B162-FB9BFDBF0839}"/>
          </ac:spMkLst>
        </pc:spChg>
        <pc:spChg chg="add del mod modVis">
          <ac:chgData name="Lawrence, Paige" userId="3b7317d7-ab12-4fe7-b0df-5840b7718ae8" providerId="ADAL" clId="{F26AFFEC-9136-4C0F-9368-E871CE1FC4F9}" dt="2021-12-16T16:06:50.544" v="2273"/>
          <ac:spMkLst>
            <pc:docMk/>
            <pc:sldMk cId="1742332029" sldId="2076138465"/>
            <ac:spMk id="6" creationId="{8E3E7829-B6CC-4F57-87E0-91177DA8B967}"/>
          </ac:spMkLst>
        </pc:spChg>
        <pc:spChg chg="add del mod modVis">
          <ac:chgData name="Lawrence, Paige" userId="3b7317d7-ab12-4fe7-b0df-5840b7718ae8" providerId="ADAL" clId="{F26AFFEC-9136-4C0F-9368-E871CE1FC4F9}" dt="2021-12-16T16:08:05.213" v="2326"/>
          <ac:spMkLst>
            <pc:docMk/>
            <pc:sldMk cId="1742332029" sldId="2076138465"/>
            <ac:spMk id="7" creationId="{B97CAA39-7765-4720-BCB7-AC84ADC28369}"/>
          </ac:spMkLst>
        </pc:spChg>
        <pc:spChg chg="add del mod modVis">
          <ac:chgData name="Lawrence, Paige" userId="3b7317d7-ab12-4fe7-b0df-5840b7718ae8" providerId="ADAL" clId="{F26AFFEC-9136-4C0F-9368-E871CE1FC4F9}" dt="2021-12-16T16:08:06.257" v="2371"/>
          <ac:spMkLst>
            <pc:docMk/>
            <pc:sldMk cId="1742332029" sldId="2076138465"/>
            <ac:spMk id="8" creationId="{0C08C72F-2E4F-4081-AD7E-D244A24394FE}"/>
          </ac:spMkLst>
        </pc:spChg>
        <pc:spChg chg="add del mod modVis">
          <ac:chgData name="Lawrence, Paige" userId="3b7317d7-ab12-4fe7-b0df-5840b7718ae8" providerId="ADAL" clId="{F26AFFEC-9136-4C0F-9368-E871CE1FC4F9}" dt="2021-12-16T16:08:07.874" v="2417"/>
          <ac:spMkLst>
            <pc:docMk/>
            <pc:sldMk cId="1742332029" sldId="2076138465"/>
            <ac:spMk id="9" creationId="{428E2B4F-B8D7-4A1F-8638-5F64FAE6FB19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6:08:07.876" v="2419"/>
          <ac:graphicFrameMkLst>
            <pc:docMk/>
            <pc:sldMk cId="1742332029" sldId="2076138465"/>
            <ac:graphicFrameMk id="5" creationId="{25913BB7-BFC7-4A2B-A71D-C1802F0747B7}"/>
          </ac:graphicFrameMkLst>
        </pc:graphicFrameChg>
      </pc:sldChg>
      <pc:sldChg chg="addSp delSp modSp new add mod">
        <pc:chgData name="Lawrence, Paige" userId="3b7317d7-ab12-4fe7-b0df-5840b7718ae8" providerId="ADAL" clId="{F26AFFEC-9136-4C0F-9368-E871CE1FC4F9}" dt="2021-12-16T16:08:47.078" v="2715"/>
        <pc:sldMkLst>
          <pc:docMk/>
          <pc:sldMk cId="1313333293" sldId="2076138466"/>
        </pc:sldMkLst>
        <pc:spChg chg="mod">
          <ac:chgData name="Lawrence, Paige" userId="3b7317d7-ab12-4fe7-b0df-5840b7718ae8" providerId="ADAL" clId="{F26AFFEC-9136-4C0F-9368-E871CE1FC4F9}" dt="2021-12-16T16:08:41.151" v="2672" actId="948"/>
          <ac:spMkLst>
            <pc:docMk/>
            <pc:sldMk cId="1313333293" sldId="2076138466"/>
            <ac:spMk id="2" creationId="{AD960C2D-BDCE-4640-AB03-D29BE4DED855}"/>
          </ac:spMkLst>
        </pc:spChg>
        <pc:spChg chg="mod">
          <ac:chgData name="Lawrence, Paige" userId="3b7317d7-ab12-4fe7-b0df-5840b7718ae8" providerId="ADAL" clId="{F26AFFEC-9136-4C0F-9368-E871CE1FC4F9}" dt="2021-12-16T16:08:47.078" v="2715"/>
          <ac:spMkLst>
            <pc:docMk/>
            <pc:sldMk cId="1313333293" sldId="2076138466"/>
            <ac:spMk id="3" creationId="{D5A0701D-C507-4392-A57D-0C0F136BCD69}"/>
          </ac:spMkLst>
        </pc:spChg>
        <pc:spChg chg="add del mod modVis">
          <ac:chgData name="Lawrence, Paige" userId="3b7317d7-ab12-4fe7-b0df-5840b7718ae8" providerId="ADAL" clId="{F26AFFEC-9136-4C0F-9368-E871CE1FC4F9}" dt="2021-12-16T16:08:41.197" v="2712"/>
          <ac:spMkLst>
            <pc:docMk/>
            <pc:sldMk cId="1313333293" sldId="2076138466"/>
            <ac:spMk id="5" creationId="{50B30CD6-AE13-4305-AAB9-2C224B4BE4BB}"/>
          </ac:spMkLst>
        </pc:spChg>
        <pc:graphicFrameChg chg="add mod ord modVis replST">
          <ac:chgData name="Lawrence, Paige" userId="3b7317d7-ab12-4fe7-b0df-5840b7718ae8" providerId="ADAL" clId="{F26AFFEC-9136-4C0F-9368-E871CE1FC4F9}" dt="2021-12-16T16:08:41.201" v="2714"/>
          <ac:graphicFrameMkLst>
            <pc:docMk/>
            <pc:sldMk cId="1313333293" sldId="2076138466"/>
            <ac:graphicFrameMk id="4" creationId="{EE6C661A-007B-43E4-A91C-B84329A29DAD}"/>
          </ac:graphicFrameMkLst>
        </pc:graphicFrameChg>
      </pc:sldChg>
      <pc:sldChg chg="addSp delSp modSp del mod modTransition modShow">
        <pc:chgData name="Lawrence, Paige" userId="3b7317d7-ab12-4fe7-b0df-5840b7718ae8" providerId="ADAL" clId="{F26AFFEC-9136-4C0F-9368-E871CE1FC4F9}" dt="2021-12-17T21:37:03.413" v="3284" actId="2696"/>
        <pc:sldMkLst>
          <pc:docMk/>
          <pc:sldMk cId="3562196693" sldId="2076138472"/>
        </pc:sldMkLst>
        <pc:picChg chg="add del mod">
          <ac:chgData name="Lawrence, Paige" userId="3b7317d7-ab12-4fe7-b0df-5840b7718ae8" providerId="ADAL" clId="{F26AFFEC-9136-4C0F-9368-E871CE1FC4F9}" dt="2021-12-17T14:23:39.218" v="3101" actId="478"/>
          <ac:picMkLst>
            <pc:docMk/>
            <pc:sldMk cId="3562196693" sldId="2076138472"/>
            <ac:picMk id="2" creationId="{DD75AFA1-FDF5-4AA8-86A0-05F112B868BA}"/>
          </ac:picMkLst>
        </pc:picChg>
      </pc:sldChg>
      <pc:sldChg chg="modSp mod">
        <pc:chgData name="Lawrence, Paige" userId="3b7317d7-ab12-4fe7-b0df-5840b7718ae8" providerId="ADAL" clId="{F26AFFEC-9136-4C0F-9368-E871CE1FC4F9}" dt="2021-12-16T19:13:38.803" v="2872"/>
        <pc:sldMkLst>
          <pc:docMk/>
          <pc:sldMk cId="3382922464" sldId="2076138474"/>
        </pc:sldMkLst>
        <pc:spChg chg="mod">
          <ac:chgData name="Lawrence, Paige" userId="3b7317d7-ab12-4fe7-b0df-5840b7718ae8" providerId="ADAL" clId="{F26AFFEC-9136-4C0F-9368-E871CE1FC4F9}" dt="2021-12-16T19:13:38.206" v="2869" actId="13926"/>
          <ac:spMkLst>
            <pc:docMk/>
            <pc:sldMk cId="3382922464" sldId="2076138474"/>
            <ac:spMk id="16" creationId="{E483F41A-A317-4C3D-A597-033C0C135392}"/>
          </ac:spMkLst>
        </pc:spChg>
        <pc:graphicFrameChg chg="mod">
          <ac:chgData name="Lawrence, Paige" userId="3b7317d7-ab12-4fe7-b0df-5840b7718ae8" providerId="ADAL" clId="{F26AFFEC-9136-4C0F-9368-E871CE1FC4F9}" dt="2021-12-16T19:13:38.803" v="2872"/>
          <ac:graphicFrameMkLst>
            <pc:docMk/>
            <pc:sldMk cId="3382922464" sldId="2076138474"/>
            <ac:graphicFrameMk id="11" creationId="{6184B018-6B3E-4934-A2DF-9012A11FC574}"/>
          </ac:graphicFrameMkLst>
        </pc:graphicFrameChg>
      </pc:sldChg>
      <pc:sldChg chg="del">
        <pc:chgData name="Lawrence, Paige" userId="3b7317d7-ab12-4fe7-b0df-5840b7718ae8" providerId="ADAL" clId="{F26AFFEC-9136-4C0F-9368-E871CE1FC4F9}" dt="2021-12-17T21:37:17.084" v="3285" actId="2696"/>
        <pc:sldMkLst>
          <pc:docMk/>
          <pc:sldMk cId="3786101093" sldId="2076138477"/>
        </pc:sldMkLst>
      </pc:sldChg>
      <pc:sldChg chg="addSp delSp modSp add mod ord">
        <pc:chgData name="Lawrence, Paige" userId="3b7317d7-ab12-4fe7-b0df-5840b7718ae8" providerId="ADAL" clId="{F26AFFEC-9136-4C0F-9368-E871CE1FC4F9}" dt="2021-12-17T14:27:27.289" v="3276" actId="20577"/>
        <pc:sldMkLst>
          <pc:docMk/>
          <pc:sldMk cId="3087408706" sldId="2076138480"/>
        </pc:sldMkLst>
        <pc:spChg chg="mod">
          <ac:chgData name="Lawrence, Paige" userId="3b7317d7-ab12-4fe7-b0df-5840b7718ae8" providerId="ADAL" clId="{F26AFFEC-9136-4C0F-9368-E871CE1FC4F9}" dt="2021-12-17T14:20:55.314" v="3040"/>
          <ac:spMkLst>
            <pc:docMk/>
            <pc:sldMk cId="3087408706" sldId="2076138480"/>
            <ac:spMk id="3" creationId="{BD40A970-BA99-4B84-B9B4-51B60213E776}"/>
          </ac:spMkLst>
        </pc:spChg>
        <pc:spChg chg="mod">
          <ac:chgData name="Lawrence, Paige" userId="3b7317d7-ab12-4fe7-b0df-5840b7718ae8" providerId="ADAL" clId="{F26AFFEC-9136-4C0F-9368-E871CE1FC4F9}" dt="2021-12-17T14:18:23.082" v="2901" actId="948"/>
          <ac:spMkLst>
            <pc:docMk/>
            <pc:sldMk cId="3087408706" sldId="2076138480"/>
            <ac:spMk id="4" creationId="{00000000-0000-0000-0000-000000000000}"/>
          </ac:spMkLst>
        </pc:spChg>
        <pc:spChg chg="add del mod modVis">
          <ac:chgData name="Lawrence, Paige" userId="3b7317d7-ab12-4fe7-b0df-5840b7718ae8" providerId="ADAL" clId="{F26AFFEC-9136-4C0F-9368-E871CE1FC4F9}" dt="2021-12-17T14:18:23.222" v="2941"/>
          <ac:spMkLst>
            <pc:docMk/>
            <pc:sldMk cId="3087408706" sldId="2076138480"/>
            <ac:spMk id="5" creationId="{1D813642-EEB9-4AD1-9811-12D93483025F}"/>
          </ac:spMkLst>
        </pc:spChg>
        <pc:spChg chg="mod">
          <ac:chgData name="Lawrence, Paige" userId="3b7317d7-ab12-4fe7-b0df-5840b7718ae8" providerId="ADAL" clId="{F26AFFEC-9136-4C0F-9368-E871CE1FC4F9}" dt="2021-12-17T14:19:48.736" v="3035" actId="20577"/>
          <ac:spMkLst>
            <pc:docMk/>
            <pc:sldMk cId="3087408706" sldId="2076138480"/>
            <ac:spMk id="11" creationId="{F280B2C5-7624-48CF-8749-F4E3121AC2C2}"/>
          </ac:spMkLst>
        </pc:spChg>
        <pc:spChg chg="mod">
          <ac:chgData name="Lawrence, Paige" userId="3b7317d7-ab12-4fe7-b0df-5840b7718ae8" providerId="ADAL" clId="{F26AFFEC-9136-4C0F-9368-E871CE1FC4F9}" dt="2021-12-17T14:24:54.471" v="3121" actId="20577"/>
          <ac:spMkLst>
            <pc:docMk/>
            <pc:sldMk cId="3087408706" sldId="2076138480"/>
            <ac:spMk id="13" creationId="{7C3848BD-D91C-4DDB-BD21-97C67DCA643D}"/>
          </ac:spMkLst>
        </pc:spChg>
        <pc:spChg chg="mod">
          <ac:chgData name="Lawrence, Paige" userId="3b7317d7-ab12-4fe7-b0df-5840b7718ae8" providerId="ADAL" clId="{F26AFFEC-9136-4C0F-9368-E871CE1FC4F9}" dt="2021-12-17T14:22:22.493" v="3083" actId="20577"/>
          <ac:spMkLst>
            <pc:docMk/>
            <pc:sldMk cId="3087408706" sldId="2076138480"/>
            <ac:spMk id="14" creationId="{DBB72897-5A1E-4E30-A407-9EACEFE91A3B}"/>
          </ac:spMkLst>
        </pc:spChg>
        <pc:spChg chg="mod">
          <ac:chgData name="Lawrence, Paige" userId="3b7317d7-ab12-4fe7-b0df-5840b7718ae8" providerId="ADAL" clId="{F26AFFEC-9136-4C0F-9368-E871CE1FC4F9}" dt="2021-12-17T14:27:27.289" v="3276" actId="20577"/>
          <ac:spMkLst>
            <pc:docMk/>
            <pc:sldMk cId="3087408706" sldId="2076138480"/>
            <ac:spMk id="15" creationId="{9DDBC192-3D79-4F87-999A-ED5E5BBEBA6A}"/>
          </ac:spMkLst>
        </pc:spChg>
        <pc:spChg chg="del mod">
          <ac:chgData name="Lawrence, Paige" userId="3b7317d7-ab12-4fe7-b0df-5840b7718ae8" providerId="ADAL" clId="{F26AFFEC-9136-4C0F-9368-E871CE1FC4F9}" dt="2021-12-17T14:21:30.390" v="3050" actId="478"/>
          <ac:spMkLst>
            <pc:docMk/>
            <pc:sldMk cId="3087408706" sldId="2076138480"/>
            <ac:spMk id="16" creationId="{09B18F02-2783-4AEE-B4DA-B9190E68C6E8}"/>
          </ac:spMkLst>
        </pc:spChg>
        <pc:spChg chg="mod">
          <ac:chgData name="Lawrence, Paige" userId="3b7317d7-ab12-4fe7-b0df-5840b7718ae8" providerId="ADAL" clId="{F26AFFEC-9136-4C0F-9368-E871CE1FC4F9}" dt="2021-12-17T14:21:44.193" v="3053"/>
          <ac:spMkLst>
            <pc:docMk/>
            <pc:sldMk cId="3087408706" sldId="2076138480"/>
            <ac:spMk id="17" creationId="{BD04186B-6D52-44B1-AF95-39949215D2F1}"/>
          </ac:spMkLst>
        </pc:spChg>
        <pc:spChg chg="mod">
          <ac:chgData name="Lawrence, Paige" userId="3b7317d7-ab12-4fe7-b0df-5840b7718ae8" providerId="ADAL" clId="{F26AFFEC-9136-4C0F-9368-E871CE1FC4F9}" dt="2021-12-17T14:27:01.339" v="3262" actId="313"/>
          <ac:spMkLst>
            <pc:docMk/>
            <pc:sldMk cId="3087408706" sldId="2076138480"/>
            <ac:spMk id="18" creationId="{4CD17411-20C1-47C0-A39E-A86208CE3F12}"/>
          </ac:spMkLst>
        </pc:spChg>
        <pc:spChg chg="add del">
          <ac:chgData name="Lawrence, Paige" userId="3b7317d7-ab12-4fe7-b0df-5840b7718ae8" providerId="ADAL" clId="{F26AFFEC-9136-4C0F-9368-E871CE1FC4F9}" dt="2021-12-17T14:22:43.047" v="3093" actId="22"/>
          <ac:spMkLst>
            <pc:docMk/>
            <pc:sldMk cId="3087408706" sldId="2076138480"/>
            <ac:spMk id="19" creationId="{EDA9A100-4CDA-4B33-B243-7C7C3B12EDE5}"/>
          </ac:spMkLst>
        </pc:spChg>
        <pc:spChg chg="add mod">
          <ac:chgData name="Lawrence, Paige" userId="3b7317d7-ab12-4fe7-b0df-5840b7718ae8" providerId="ADAL" clId="{F26AFFEC-9136-4C0F-9368-E871CE1FC4F9}" dt="2021-12-17T14:24:22.864" v="3111" actId="20577"/>
          <ac:spMkLst>
            <pc:docMk/>
            <pc:sldMk cId="3087408706" sldId="2076138480"/>
            <ac:spMk id="20" creationId="{74A57891-0C90-4A6E-8B3D-7FDEA694B60D}"/>
          </ac:spMkLst>
        </pc:spChg>
        <pc:spChg chg="mod">
          <ac:chgData name="Lawrence, Paige" userId="3b7317d7-ab12-4fe7-b0df-5840b7718ae8" providerId="ADAL" clId="{F26AFFEC-9136-4C0F-9368-E871CE1FC4F9}" dt="2021-12-17T14:20:41.144" v="3037" actId="20577"/>
          <ac:spMkLst>
            <pc:docMk/>
            <pc:sldMk cId="3087408706" sldId="2076138480"/>
            <ac:spMk id="29" creationId="{8929749D-AA86-46D9-90AE-17CB67ABFC4D}"/>
          </ac:spMkLst>
        </pc:spChg>
        <pc:spChg chg="mod">
          <ac:chgData name="Lawrence, Paige" userId="3b7317d7-ab12-4fe7-b0df-5840b7718ae8" providerId="ADAL" clId="{F26AFFEC-9136-4C0F-9368-E871CE1FC4F9}" dt="2021-12-17T14:24:27.493" v="3112" actId="255"/>
          <ac:spMkLst>
            <pc:docMk/>
            <pc:sldMk cId="3087408706" sldId="2076138480"/>
            <ac:spMk id="30" creationId="{1C4952D2-589A-40A5-AA13-7D04D8EDB774}"/>
          </ac:spMkLst>
        </pc:spChg>
        <pc:spChg chg="mod">
          <ac:chgData name="Lawrence, Paige" userId="3b7317d7-ab12-4fe7-b0df-5840b7718ae8" providerId="ADAL" clId="{F26AFFEC-9136-4C0F-9368-E871CE1FC4F9}" dt="2021-12-17T14:26:33.568" v="3249" actId="113"/>
          <ac:spMkLst>
            <pc:docMk/>
            <pc:sldMk cId="3087408706" sldId="2076138480"/>
            <ac:spMk id="31" creationId="{5BC50533-2DC5-477F-8955-B76A74C4A93A}"/>
          </ac:spMkLst>
        </pc:spChg>
        <pc:grpChg chg="mod">
          <ac:chgData name="Lawrence, Paige" userId="3b7317d7-ab12-4fe7-b0df-5840b7718ae8" providerId="ADAL" clId="{F26AFFEC-9136-4C0F-9368-E871CE1FC4F9}" dt="2021-12-17T14:18:03.557" v="2876"/>
          <ac:grpSpMkLst>
            <pc:docMk/>
            <pc:sldMk cId="3087408706" sldId="2076138480"/>
            <ac:grpSpMk id="1" creationId="{00000000-0000-0000-0000-000000000000}"/>
          </ac:grpSpMkLst>
        </pc:grpChg>
        <pc:grpChg chg="mod">
          <ac:chgData name="Lawrence, Paige" userId="3b7317d7-ab12-4fe7-b0df-5840b7718ae8" providerId="ADAL" clId="{F26AFFEC-9136-4C0F-9368-E871CE1FC4F9}" dt="2021-12-17T14:18:03.557" v="2876"/>
          <ac:grpSpMkLst>
            <pc:docMk/>
            <pc:sldMk cId="3087408706" sldId="2076138480"/>
            <ac:grpSpMk id="28" creationId="{19A517A1-6BD5-44CC-B9E0-8BB11965716C}"/>
          </ac:grpSpMkLst>
        </pc:grpChg>
        <pc:graphicFrameChg chg="mod">
          <ac:chgData name="Lawrence, Paige" userId="3b7317d7-ab12-4fe7-b0df-5840b7718ae8" providerId="ADAL" clId="{F26AFFEC-9136-4C0F-9368-E871CE1FC4F9}" dt="2021-12-17T14:18:23.234" v="2943"/>
          <ac:graphicFrameMkLst>
            <pc:docMk/>
            <pc:sldMk cId="3087408706" sldId="2076138480"/>
            <ac:graphicFrameMk id="2" creationId="{ED715853-5674-4300-938D-D4D79701FEF0}"/>
          </ac:graphicFrameMkLst>
        </pc:graphicFrameChg>
      </pc:sldChg>
      <pc:sldChg chg="modSp">
        <pc:chgData name="Lawrence, Paige" userId="3b7317d7-ab12-4fe7-b0df-5840b7718ae8" providerId="ADAL" clId="{F26AFFEC-9136-4C0F-9368-E871CE1FC4F9}" dt="2021-12-17T21:21:11.144" v="3280" actId="255"/>
        <pc:sldMkLst>
          <pc:docMk/>
          <pc:sldMk cId="572379146" sldId="2076138481"/>
        </pc:sldMkLst>
        <pc:graphicFrameChg chg="mod">
          <ac:chgData name="Lawrence, Paige" userId="3b7317d7-ab12-4fe7-b0df-5840b7718ae8" providerId="ADAL" clId="{F26AFFEC-9136-4C0F-9368-E871CE1FC4F9}" dt="2021-12-17T21:21:11.144" v="3280" actId="255"/>
          <ac:graphicFrameMkLst>
            <pc:docMk/>
            <pc:sldMk cId="572379146" sldId="2076138481"/>
            <ac:graphicFrameMk id="4" creationId="{5083808D-4608-5942-8802-93260A22245D}"/>
          </ac:graphicFrameMkLst>
        </pc:graphicFrameChg>
      </pc:sldChg>
      <pc:sldChg chg="addSp modSp mod">
        <pc:chgData name="Lawrence, Paige" userId="3b7317d7-ab12-4fe7-b0df-5840b7718ae8" providerId="ADAL" clId="{F26AFFEC-9136-4C0F-9368-E871CE1FC4F9}" dt="2021-12-17T21:41:34.201" v="3302" actId="1076"/>
        <pc:sldMkLst>
          <pc:docMk/>
          <pc:sldMk cId="3556737562" sldId="2076138483"/>
        </pc:sldMkLst>
        <pc:spChg chg="add mod">
          <ac:chgData name="Lawrence, Paige" userId="3b7317d7-ab12-4fe7-b0df-5840b7718ae8" providerId="ADAL" clId="{F26AFFEC-9136-4C0F-9368-E871CE1FC4F9}" dt="2021-12-17T21:41:34.201" v="3302" actId="1076"/>
          <ac:spMkLst>
            <pc:docMk/>
            <pc:sldMk cId="3556737562" sldId="2076138483"/>
            <ac:spMk id="5" creationId="{14712C1B-F16E-47AE-AC36-D5E857151A45}"/>
          </ac:spMkLst>
        </pc:spChg>
        <pc:spChg chg="mod">
          <ac:chgData name="Lawrence, Paige" userId="3b7317d7-ab12-4fe7-b0df-5840b7718ae8" providerId="ADAL" clId="{F26AFFEC-9136-4C0F-9368-E871CE1FC4F9}" dt="2021-12-17T21:40:02.764" v="3286" actId="1076"/>
          <ac:spMkLst>
            <pc:docMk/>
            <pc:sldMk cId="3556737562" sldId="2076138483"/>
            <ac:spMk id="13" creationId="{7C3848BD-D91C-4DDB-BD21-97C67DCA643D}"/>
          </ac:spMkLst>
        </pc:spChg>
        <pc:spChg chg="mod">
          <ac:chgData name="Lawrence, Paige" userId="3b7317d7-ab12-4fe7-b0df-5840b7718ae8" providerId="ADAL" clId="{F26AFFEC-9136-4C0F-9368-E871CE1FC4F9}" dt="2021-12-17T21:41:16.204" v="3299" actId="20577"/>
          <ac:spMkLst>
            <pc:docMk/>
            <pc:sldMk cId="3556737562" sldId="2076138483"/>
            <ac:spMk id="14" creationId="{DBB72897-5A1E-4E30-A407-9EACEFE91A3B}"/>
          </ac:spMkLst>
        </pc:spChg>
        <pc:spChg chg="mod">
          <ac:chgData name="Lawrence, Paige" userId="3b7317d7-ab12-4fe7-b0df-5840b7718ae8" providerId="ADAL" clId="{F26AFFEC-9136-4C0F-9368-E871CE1FC4F9}" dt="2021-12-17T21:40:02.764" v="3286" actId="1076"/>
          <ac:spMkLst>
            <pc:docMk/>
            <pc:sldMk cId="3556737562" sldId="2076138483"/>
            <ac:spMk id="20" creationId="{74A57891-0C90-4A6E-8B3D-7FDEA694B60D}"/>
          </ac:spMkLst>
        </pc:spChg>
        <pc:spChg chg="mod">
          <ac:chgData name="Lawrence, Paige" userId="3b7317d7-ab12-4fe7-b0df-5840b7718ae8" providerId="ADAL" clId="{F26AFFEC-9136-4C0F-9368-E871CE1FC4F9}" dt="2021-12-17T21:40:31.016" v="3289" actId="113"/>
          <ac:spMkLst>
            <pc:docMk/>
            <pc:sldMk cId="3556737562" sldId="2076138483"/>
            <ac:spMk id="30" creationId="{1C4952D2-589A-40A5-AA13-7D04D8EDB774}"/>
          </ac:spMkLst>
        </pc:spChg>
        <pc:grpChg chg="mod">
          <ac:chgData name="Lawrence, Paige" userId="3b7317d7-ab12-4fe7-b0df-5840b7718ae8" providerId="ADAL" clId="{F26AFFEC-9136-4C0F-9368-E871CE1FC4F9}" dt="2021-12-17T21:40:02.764" v="3286" actId="1076"/>
          <ac:grpSpMkLst>
            <pc:docMk/>
            <pc:sldMk cId="3556737562" sldId="2076138483"/>
            <ac:grpSpMk id="28" creationId="{19A517A1-6BD5-44CC-B9E0-8BB11965716C}"/>
          </ac:grpSpMkLst>
        </pc:grpChg>
      </pc:sldChg>
      <pc:sldMasterChg chg="addSp delSp modSp mod">
        <pc:chgData name="Lawrence, Paige" userId="3b7317d7-ab12-4fe7-b0df-5840b7718ae8" providerId="ADAL" clId="{F26AFFEC-9136-4C0F-9368-E871CE1FC4F9}" dt="2021-12-07T15:25:52.178" v="61"/>
        <pc:sldMasterMkLst>
          <pc:docMk/>
          <pc:sldMasterMk cId="1827367449" sldId="2147483648"/>
        </pc:sldMasterMkLst>
        <pc:spChg chg="mod">
          <ac:chgData name="Lawrence, Paige" userId="3b7317d7-ab12-4fe7-b0df-5840b7718ae8" providerId="ADAL" clId="{F26AFFEC-9136-4C0F-9368-E871CE1FC4F9}" dt="2021-12-07T15:25:51.972" v="4" actId="948"/>
          <ac:spMkLst>
            <pc:docMk/>
            <pc:sldMasterMk cId="1827367449" sldId="2147483648"/>
            <ac:spMk id="2" creationId="{A9552094-770A-48CC-9BEA-B8405429FD54}"/>
          </ac:spMkLst>
        </pc:spChg>
        <pc:spChg chg="add del mod modVis">
          <ac:chgData name="Lawrence, Paige" userId="3b7317d7-ab12-4fe7-b0df-5840b7718ae8" providerId="ADAL" clId="{F26AFFEC-9136-4C0F-9368-E871CE1FC4F9}" dt="2021-12-07T15:25:52.101" v="45"/>
          <ac:spMkLst>
            <pc:docMk/>
            <pc:sldMasterMk cId="1827367449" sldId="2147483648"/>
            <ac:spMk id="7" creationId="{F1BB80F2-0174-4882-B626-2AE82AD45544}"/>
          </ac:spMkLst>
        </pc:spChg>
        <pc:graphicFrameChg chg="add mod ord modVis replST">
          <ac:chgData name="Lawrence, Paige" userId="3b7317d7-ab12-4fe7-b0df-5840b7718ae8" providerId="ADAL" clId="{F26AFFEC-9136-4C0F-9368-E871CE1FC4F9}" dt="2021-12-07T15:25:52.178" v="61"/>
          <ac:graphicFrameMkLst>
            <pc:docMk/>
            <pc:sldMasterMk cId="1827367449" sldId="2147483648"/>
            <ac:graphicFrameMk id="8" creationId="{AE80F58E-3FDF-411A-8314-624F6C29A31A}"/>
          </ac:graphicFrameMkLst>
        </pc:graphicFrame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F2437B-81D1-477E-9A72-F9A754469ECD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48A3CEB-0343-4732-9E72-4206CE4388E7}">
      <dgm:prSet phldrT="[Text]"/>
      <dgm:spPr/>
      <dgm:t>
        <a:bodyPr/>
        <a:lstStyle/>
        <a:p>
          <a:r>
            <a:rPr lang="en-US"/>
            <a:t>Use insights to build model</a:t>
          </a:r>
        </a:p>
      </dgm:t>
    </dgm:pt>
    <dgm:pt modelId="{1B0F8862-B483-40B4-BBF4-2ECAAD1C42D4}" type="parTrans" cxnId="{54EC7C6B-91D4-4613-9DD8-E2F9CDD02E04}">
      <dgm:prSet/>
      <dgm:spPr/>
      <dgm:t>
        <a:bodyPr/>
        <a:lstStyle/>
        <a:p>
          <a:endParaRPr lang="en-US"/>
        </a:p>
      </dgm:t>
    </dgm:pt>
    <dgm:pt modelId="{1EE5396A-DBF4-4F6B-B5A9-713C3B0F9B8C}" type="sibTrans" cxnId="{54EC7C6B-91D4-4613-9DD8-E2F9CDD02E04}">
      <dgm:prSet/>
      <dgm:spPr/>
      <dgm:t>
        <a:bodyPr/>
        <a:lstStyle/>
        <a:p>
          <a:endParaRPr lang="en-US"/>
        </a:p>
      </dgm:t>
    </dgm:pt>
    <dgm:pt modelId="{CD161B73-1408-4CB0-A9EA-4B648BA642C0}">
      <dgm:prSet phldrT="[Text]"/>
      <dgm:spPr/>
      <dgm:t>
        <a:bodyPr/>
        <a:lstStyle/>
        <a:p>
          <a:r>
            <a:rPr lang="en-US"/>
            <a:t>Obtain importance of data from model</a:t>
          </a:r>
        </a:p>
      </dgm:t>
    </dgm:pt>
    <dgm:pt modelId="{3536B75D-C948-4570-A215-EC525B8862B4}" type="parTrans" cxnId="{9551E130-CCCB-4DFC-8FC4-5D849C374486}">
      <dgm:prSet/>
      <dgm:spPr/>
      <dgm:t>
        <a:bodyPr/>
        <a:lstStyle/>
        <a:p>
          <a:endParaRPr lang="en-US"/>
        </a:p>
      </dgm:t>
    </dgm:pt>
    <dgm:pt modelId="{365DC3BD-61D8-428B-9F64-2DE50A896E8D}" type="sibTrans" cxnId="{9551E130-CCCB-4DFC-8FC4-5D849C374486}">
      <dgm:prSet/>
      <dgm:spPr/>
      <dgm:t>
        <a:bodyPr/>
        <a:lstStyle/>
        <a:p>
          <a:endParaRPr lang="en-US"/>
        </a:p>
      </dgm:t>
    </dgm:pt>
    <dgm:pt modelId="{A24EE8BA-34C1-41DA-80EC-10F3462BBE26}">
      <dgm:prSet phldrT="[Text]"/>
      <dgm:spPr/>
      <dgm:t>
        <a:bodyPr/>
        <a:lstStyle/>
        <a:p>
          <a:r>
            <a:rPr lang="en-US"/>
            <a:t>Re-visualize “important” data</a:t>
          </a:r>
        </a:p>
      </dgm:t>
    </dgm:pt>
    <dgm:pt modelId="{F2325013-16A9-425A-B74B-6A4555432319}" type="parTrans" cxnId="{2254CA81-76E0-436D-A0D5-1BDDFB6E9901}">
      <dgm:prSet/>
      <dgm:spPr/>
      <dgm:t>
        <a:bodyPr/>
        <a:lstStyle/>
        <a:p>
          <a:endParaRPr lang="en-US"/>
        </a:p>
      </dgm:t>
    </dgm:pt>
    <dgm:pt modelId="{E1B9EB0D-6895-4269-9840-2B135BA2EA32}" type="sibTrans" cxnId="{2254CA81-76E0-436D-A0D5-1BDDFB6E9901}">
      <dgm:prSet/>
      <dgm:spPr/>
      <dgm:t>
        <a:bodyPr/>
        <a:lstStyle/>
        <a:p>
          <a:endParaRPr lang="en-US"/>
        </a:p>
      </dgm:t>
    </dgm:pt>
    <dgm:pt modelId="{9536B9FB-6715-420B-8F79-CE119C94CE8C}">
      <dgm:prSet phldrT="[Text]"/>
      <dgm:spPr/>
      <dgm:t>
        <a:bodyPr/>
        <a:lstStyle/>
        <a:p>
          <a:r>
            <a:rPr lang="en-US"/>
            <a:t>Build insights into model and make recommendations</a:t>
          </a:r>
        </a:p>
      </dgm:t>
    </dgm:pt>
    <dgm:pt modelId="{718D110A-5796-4780-A5EE-7AC220D2A910}" type="parTrans" cxnId="{4A0BDCF6-55B6-4B0F-9023-15C5D9E697B4}">
      <dgm:prSet/>
      <dgm:spPr/>
      <dgm:t>
        <a:bodyPr/>
        <a:lstStyle/>
        <a:p>
          <a:endParaRPr lang="en-US"/>
        </a:p>
      </dgm:t>
    </dgm:pt>
    <dgm:pt modelId="{26CB01F5-8955-4D10-88F0-5ECCAF403BFA}" type="sibTrans" cxnId="{4A0BDCF6-55B6-4B0F-9023-15C5D9E697B4}">
      <dgm:prSet/>
      <dgm:spPr/>
      <dgm:t>
        <a:bodyPr/>
        <a:lstStyle/>
        <a:p>
          <a:endParaRPr lang="en-US"/>
        </a:p>
      </dgm:t>
    </dgm:pt>
    <dgm:pt modelId="{52826B73-FCA2-4C60-B234-F2476559C555}">
      <dgm:prSet phldrT="[Text]"/>
      <dgm:spPr/>
      <dgm:t>
        <a:bodyPr/>
        <a:lstStyle/>
        <a:p>
          <a:r>
            <a:rPr lang="en-US"/>
            <a:t>Visualize data</a:t>
          </a:r>
        </a:p>
        <a:p>
          <a:r>
            <a:rPr lang="en-US">
              <a:solidFill>
                <a:srgbClr val="00B0F0"/>
              </a:solidFill>
            </a:rPr>
            <a:t>(Start here)</a:t>
          </a:r>
        </a:p>
      </dgm:t>
    </dgm:pt>
    <dgm:pt modelId="{E10EA7FE-BD20-42F9-95D0-740B7CD2E655}" type="parTrans" cxnId="{1195468E-ED37-4616-8800-160846B50CDF}">
      <dgm:prSet/>
      <dgm:spPr/>
      <dgm:t>
        <a:bodyPr/>
        <a:lstStyle/>
        <a:p>
          <a:endParaRPr lang="en-US"/>
        </a:p>
      </dgm:t>
    </dgm:pt>
    <dgm:pt modelId="{8654D922-85F0-4F05-A2AC-956F0322C8AC}" type="sibTrans" cxnId="{1195468E-ED37-4616-8800-160846B50CDF}">
      <dgm:prSet/>
      <dgm:spPr/>
      <dgm:t>
        <a:bodyPr/>
        <a:lstStyle/>
        <a:p>
          <a:endParaRPr lang="en-US"/>
        </a:p>
      </dgm:t>
    </dgm:pt>
    <dgm:pt modelId="{ACAA4D9D-EB44-40C6-B573-8225D83719A1}" type="pres">
      <dgm:prSet presAssocID="{AEF2437B-81D1-477E-9A72-F9A754469ECD}" presName="cycle" presStyleCnt="0">
        <dgm:presLayoutVars>
          <dgm:dir/>
          <dgm:resizeHandles val="exact"/>
        </dgm:presLayoutVars>
      </dgm:prSet>
      <dgm:spPr/>
    </dgm:pt>
    <dgm:pt modelId="{065465EA-D6CA-44E5-9FF4-242412B2D0D3}" type="pres">
      <dgm:prSet presAssocID="{248A3CEB-0343-4732-9E72-4206CE4388E7}" presName="dummy" presStyleCnt="0"/>
      <dgm:spPr/>
    </dgm:pt>
    <dgm:pt modelId="{4A74A9AB-3551-48FE-9F63-7BF06686973E}" type="pres">
      <dgm:prSet presAssocID="{248A3CEB-0343-4732-9E72-4206CE4388E7}" presName="node" presStyleLbl="revTx" presStyleIdx="0" presStyleCnt="5">
        <dgm:presLayoutVars>
          <dgm:bulletEnabled val="1"/>
        </dgm:presLayoutVars>
      </dgm:prSet>
      <dgm:spPr/>
    </dgm:pt>
    <dgm:pt modelId="{758E1AE3-9B83-4962-96E6-76E593AEE1A9}" type="pres">
      <dgm:prSet presAssocID="{1EE5396A-DBF4-4F6B-B5A9-713C3B0F9B8C}" presName="sibTrans" presStyleLbl="node1" presStyleIdx="0" presStyleCnt="5"/>
      <dgm:spPr/>
    </dgm:pt>
    <dgm:pt modelId="{518C0EEC-7FA2-415A-BCE6-5F3F5EA3FADD}" type="pres">
      <dgm:prSet presAssocID="{CD161B73-1408-4CB0-A9EA-4B648BA642C0}" presName="dummy" presStyleCnt="0"/>
      <dgm:spPr/>
    </dgm:pt>
    <dgm:pt modelId="{A9D75BB2-674C-4891-BAE4-2DA0209D19E7}" type="pres">
      <dgm:prSet presAssocID="{CD161B73-1408-4CB0-A9EA-4B648BA642C0}" presName="node" presStyleLbl="revTx" presStyleIdx="1" presStyleCnt="5">
        <dgm:presLayoutVars>
          <dgm:bulletEnabled val="1"/>
        </dgm:presLayoutVars>
      </dgm:prSet>
      <dgm:spPr/>
    </dgm:pt>
    <dgm:pt modelId="{5096E0E1-8501-47A1-AFB0-7BF99E994C2D}" type="pres">
      <dgm:prSet presAssocID="{365DC3BD-61D8-428B-9F64-2DE50A896E8D}" presName="sibTrans" presStyleLbl="node1" presStyleIdx="1" presStyleCnt="5"/>
      <dgm:spPr/>
    </dgm:pt>
    <dgm:pt modelId="{6FC8CB72-8B35-4E36-8F43-8951A3005B6C}" type="pres">
      <dgm:prSet presAssocID="{A24EE8BA-34C1-41DA-80EC-10F3462BBE26}" presName="dummy" presStyleCnt="0"/>
      <dgm:spPr/>
    </dgm:pt>
    <dgm:pt modelId="{4570F877-0153-4605-92FA-EDF249C135CE}" type="pres">
      <dgm:prSet presAssocID="{A24EE8BA-34C1-41DA-80EC-10F3462BBE26}" presName="node" presStyleLbl="revTx" presStyleIdx="2" presStyleCnt="5">
        <dgm:presLayoutVars>
          <dgm:bulletEnabled val="1"/>
        </dgm:presLayoutVars>
      </dgm:prSet>
      <dgm:spPr/>
    </dgm:pt>
    <dgm:pt modelId="{25FC69C4-E522-4D44-82DE-F0542F93DA03}" type="pres">
      <dgm:prSet presAssocID="{E1B9EB0D-6895-4269-9840-2B135BA2EA32}" presName="sibTrans" presStyleLbl="node1" presStyleIdx="2" presStyleCnt="5"/>
      <dgm:spPr/>
    </dgm:pt>
    <dgm:pt modelId="{04BDD6F4-2566-4CCC-8949-FE245BA72F7D}" type="pres">
      <dgm:prSet presAssocID="{9536B9FB-6715-420B-8F79-CE119C94CE8C}" presName="dummy" presStyleCnt="0"/>
      <dgm:spPr/>
    </dgm:pt>
    <dgm:pt modelId="{FB47BEDE-F75A-4794-8096-D24CBA4A36E9}" type="pres">
      <dgm:prSet presAssocID="{9536B9FB-6715-420B-8F79-CE119C94CE8C}" presName="node" presStyleLbl="revTx" presStyleIdx="3" presStyleCnt="5">
        <dgm:presLayoutVars>
          <dgm:bulletEnabled val="1"/>
        </dgm:presLayoutVars>
      </dgm:prSet>
      <dgm:spPr/>
    </dgm:pt>
    <dgm:pt modelId="{4DA42556-C1D9-411F-963B-0113C6755277}" type="pres">
      <dgm:prSet presAssocID="{26CB01F5-8955-4D10-88F0-5ECCAF403BFA}" presName="sibTrans" presStyleLbl="node1" presStyleIdx="3" presStyleCnt="5" custLinFactNeighborX="0"/>
      <dgm:spPr/>
    </dgm:pt>
    <dgm:pt modelId="{97944E4E-8C1F-479D-ACCA-44F7410A3CD4}" type="pres">
      <dgm:prSet presAssocID="{52826B73-FCA2-4C60-B234-F2476559C555}" presName="dummy" presStyleCnt="0"/>
      <dgm:spPr/>
    </dgm:pt>
    <dgm:pt modelId="{7F755349-D619-4F98-A424-2A7BF070A7B3}" type="pres">
      <dgm:prSet presAssocID="{52826B73-FCA2-4C60-B234-F2476559C555}" presName="node" presStyleLbl="revTx" presStyleIdx="4" presStyleCnt="5">
        <dgm:presLayoutVars>
          <dgm:bulletEnabled val="1"/>
        </dgm:presLayoutVars>
      </dgm:prSet>
      <dgm:spPr/>
    </dgm:pt>
    <dgm:pt modelId="{99D44B37-AA99-436F-B919-4763FF4EEDED}" type="pres">
      <dgm:prSet presAssocID="{8654D922-85F0-4F05-A2AC-956F0322C8AC}" presName="sibTrans" presStyleLbl="node1" presStyleIdx="4" presStyleCnt="5"/>
      <dgm:spPr/>
    </dgm:pt>
  </dgm:ptLst>
  <dgm:cxnLst>
    <dgm:cxn modelId="{40D2FE0D-D1F1-4AD1-8BD6-E6AC82716004}" type="presOf" srcId="{365DC3BD-61D8-428B-9F64-2DE50A896E8D}" destId="{5096E0E1-8501-47A1-AFB0-7BF99E994C2D}" srcOrd="0" destOrd="0" presId="urn:microsoft.com/office/officeart/2005/8/layout/cycle1"/>
    <dgm:cxn modelId="{9551E130-CCCB-4DFC-8FC4-5D849C374486}" srcId="{AEF2437B-81D1-477E-9A72-F9A754469ECD}" destId="{CD161B73-1408-4CB0-A9EA-4B648BA642C0}" srcOrd="1" destOrd="0" parTransId="{3536B75D-C948-4570-A215-EC525B8862B4}" sibTransId="{365DC3BD-61D8-428B-9F64-2DE50A896E8D}"/>
    <dgm:cxn modelId="{54EC7C6B-91D4-4613-9DD8-E2F9CDD02E04}" srcId="{AEF2437B-81D1-477E-9A72-F9A754469ECD}" destId="{248A3CEB-0343-4732-9E72-4206CE4388E7}" srcOrd="0" destOrd="0" parTransId="{1B0F8862-B483-40B4-BBF4-2ECAAD1C42D4}" sibTransId="{1EE5396A-DBF4-4F6B-B5A9-713C3B0F9B8C}"/>
    <dgm:cxn modelId="{56A0EC72-FD49-4D7E-9C46-D4D46D569641}" type="presOf" srcId="{E1B9EB0D-6895-4269-9840-2B135BA2EA32}" destId="{25FC69C4-E522-4D44-82DE-F0542F93DA03}" srcOrd="0" destOrd="0" presId="urn:microsoft.com/office/officeart/2005/8/layout/cycle1"/>
    <dgm:cxn modelId="{1C92E754-F022-4232-B1FB-B91ED496DE8D}" type="presOf" srcId="{CD161B73-1408-4CB0-A9EA-4B648BA642C0}" destId="{A9D75BB2-674C-4891-BAE4-2DA0209D19E7}" srcOrd="0" destOrd="0" presId="urn:microsoft.com/office/officeart/2005/8/layout/cycle1"/>
    <dgm:cxn modelId="{2254CA81-76E0-436D-A0D5-1BDDFB6E9901}" srcId="{AEF2437B-81D1-477E-9A72-F9A754469ECD}" destId="{A24EE8BA-34C1-41DA-80EC-10F3462BBE26}" srcOrd="2" destOrd="0" parTransId="{F2325013-16A9-425A-B74B-6A4555432319}" sibTransId="{E1B9EB0D-6895-4269-9840-2B135BA2EA32}"/>
    <dgm:cxn modelId="{DF22C983-783B-4AB5-9FE0-A4F4A2586944}" type="presOf" srcId="{52826B73-FCA2-4C60-B234-F2476559C555}" destId="{7F755349-D619-4F98-A424-2A7BF070A7B3}" srcOrd="0" destOrd="0" presId="urn:microsoft.com/office/officeart/2005/8/layout/cycle1"/>
    <dgm:cxn modelId="{1195468E-ED37-4616-8800-160846B50CDF}" srcId="{AEF2437B-81D1-477E-9A72-F9A754469ECD}" destId="{52826B73-FCA2-4C60-B234-F2476559C555}" srcOrd="4" destOrd="0" parTransId="{E10EA7FE-BD20-42F9-95D0-740B7CD2E655}" sibTransId="{8654D922-85F0-4F05-A2AC-956F0322C8AC}"/>
    <dgm:cxn modelId="{D9588E8F-5D3F-44CF-B8D6-C5728C77D74D}" type="presOf" srcId="{9536B9FB-6715-420B-8F79-CE119C94CE8C}" destId="{FB47BEDE-F75A-4794-8096-D24CBA4A36E9}" srcOrd="0" destOrd="0" presId="urn:microsoft.com/office/officeart/2005/8/layout/cycle1"/>
    <dgm:cxn modelId="{87EE7490-926E-4597-96F8-3E85ADBBF20F}" type="presOf" srcId="{8654D922-85F0-4F05-A2AC-956F0322C8AC}" destId="{99D44B37-AA99-436F-B919-4763FF4EEDED}" srcOrd="0" destOrd="0" presId="urn:microsoft.com/office/officeart/2005/8/layout/cycle1"/>
    <dgm:cxn modelId="{824D8BB1-46D6-4668-9B37-D5EF45322079}" type="presOf" srcId="{1EE5396A-DBF4-4F6B-B5A9-713C3B0F9B8C}" destId="{758E1AE3-9B83-4962-96E6-76E593AEE1A9}" srcOrd="0" destOrd="0" presId="urn:microsoft.com/office/officeart/2005/8/layout/cycle1"/>
    <dgm:cxn modelId="{96E7C2B6-5EE7-4B7F-AE55-AD3E2759D38A}" type="presOf" srcId="{A24EE8BA-34C1-41DA-80EC-10F3462BBE26}" destId="{4570F877-0153-4605-92FA-EDF249C135CE}" srcOrd="0" destOrd="0" presId="urn:microsoft.com/office/officeart/2005/8/layout/cycle1"/>
    <dgm:cxn modelId="{5AA817C3-F22D-417E-9E85-C2A60EB4A7B5}" type="presOf" srcId="{26CB01F5-8955-4D10-88F0-5ECCAF403BFA}" destId="{4DA42556-C1D9-411F-963B-0113C6755277}" srcOrd="0" destOrd="0" presId="urn:microsoft.com/office/officeart/2005/8/layout/cycle1"/>
    <dgm:cxn modelId="{854EE6E4-B66B-4B40-8EDE-0DB6824671BE}" type="presOf" srcId="{AEF2437B-81D1-477E-9A72-F9A754469ECD}" destId="{ACAA4D9D-EB44-40C6-B573-8225D83719A1}" srcOrd="0" destOrd="0" presId="urn:microsoft.com/office/officeart/2005/8/layout/cycle1"/>
    <dgm:cxn modelId="{FEFEFCE8-701D-4604-A1B5-A4F566442E61}" type="presOf" srcId="{248A3CEB-0343-4732-9E72-4206CE4388E7}" destId="{4A74A9AB-3551-48FE-9F63-7BF06686973E}" srcOrd="0" destOrd="0" presId="urn:microsoft.com/office/officeart/2005/8/layout/cycle1"/>
    <dgm:cxn modelId="{4A0BDCF6-55B6-4B0F-9023-15C5D9E697B4}" srcId="{AEF2437B-81D1-477E-9A72-F9A754469ECD}" destId="{9536B9FB-6715-420B-8F79-CE119C94CE8C}" srcOrd="3" destOrd="0" parTransId="{718D110A-5796-4780-A5EE-7AC220D2A910}" sibTransId="{26CB01F5-8955-4D10-88F0-5ECCAF403BFA}"/>
    <dgm:cxn modelId="{AFCD0055-9820-4984-BF33-75C9E983D1E6}" type="presParOf" srcId="{ACAA4D9D-EB44-40C6-B573-8225D83719A1}" destId="{065465EA-D6CA-44E5-9FF4-242412B2D0D3}" srcOrd="0" destOrd="0" presId="urn:microsoft.com/office/officeart/2005/8/layout/cycle1"/>
    <dgm:cxn modelId="{1F5B8C6C-7766-4AF0-ABF0-CFCE4FDC073B}" type="presParOf" srcId="{ACAA4D9D-EB44-40C6-B573-8225D83719A1}" destId="{4A74A9AB-3551-48FE-9F63-7BF06686973E}" srcOrd="1" destOrd="0" presId="urn:microsoft.com/office/officeart/2005/8/layout/cycle1"/>
    <dgm:cxn modelId="{3A5596F0-6069-49FB-875A-4FD58948782B}" type="presParOf" srcId="{ACAA4D9D-EB44-40C6-B573-8225D83719A1}" destId="{758E1AE3-9B83-4962-96E6-76E593AEE1A9}" srcOrd="2" destOrd="0" presId="urn:microsoft.com/office/officeart/2005/8/layout/cycle1"/>
    <dgm:cxn modelId="{5C286FE5-546A-4184-8306-F9C9BB08EEF5}" type="presParOf" srcId="{ACAA4D9D-EB44-40C6-B573-8225D83719A1}" destId="{518C0EEC-7FA2-415A-BCE6-5F3F5EA3FADD}" srcOrd="3" destOrd="0" presId="urn:microsoft.com/office/officeart/2005/8/layout/cycle1"/>
    <dgm:cxn modelId="{366988BA-C6D8-4F17-89AD-4DAE0310F6C0}" type="presParOf" srcId="{ACAA4D9D-EB44-40C6-B573-8225D83719A1}" destId="{A9D75BB2-674C-4891-BAE4-2DA0209D19E7}" srcOrd="4" destOrd="0" presId="urn:microsoft.com/office/officeart/2005/8/layout/cycle1"/>
    <dgm:cxn modelId="{F2004198-5601-47B8-BE92-94BB6D682C47}" type="presParOf" srcId="{ACAA4D9D-EB44-40C6-B573-8225D83719A1}" destId="{5096E0E1-8501-47A1-AFB0-7BF99E994C2D}" srcOrd="5" destOrd="0" presId="urn:microsoft.com/office/officeart/2005/8/layout/cycle1"/>
    <dgm:cxn modelId="{40CBAF99-2CD4-4EE4-98EC-83778D008FA6}" type="presParOf" srcId="{ACAA4D9D-EB44-40C6-B573-8225D83719A1}" destId="{6FC8CB72-8B35-4E36-8F43-8951A3005B6C}" srcOrd="6" destOrd="0" presId="urn:microsoft.com/office/officeart/2005/8/layout/cycle1"/>
    <dgm:cxn modelId="{60EAAA27-40E2-44A4-9D80-3401501D76BF}" type="presParOf" srcId="{ACAA4D9D-EB44-40C6-B573-8225D83719A1}" destId="{4570F877-0153-4605-92FA-EDF249C135CE}" srcOrd="7" destOrd="0" presId="urn:microsoft.com/office/officeart/2005/8/layout/cycle1"/>
    <dgm:cxn modelId="{2F094821-7850-4A26-953A-6931EB427E3E}" type="presParOf" srcId="{ACAA4D9D-EB44-40C6-B573-8225D83719A1}" destId="{25FC69C4-E522-4D44-82DE-F0542F93DA03}" srcOrd="8" destOrd="0" presId="urn:microsoft.com/office/officeart/2005/8/layout/cycle1"/>
    <dgm:cxn modelId="{AFAA2EE0-6457-41AA-9055-0B92ED0FD748}" type="presParOf" srcId="{ACAA4D9D-EB44-40C6-B573-8225D83719A1}" destId="{04BDD6F4-2566-4CCC-8949-FE245BA72F7D}" srcOrd="9" destOrd="0" presId="urn:microsoft.com/office/officeart/2005/8/layout/cycle1"/>
    <dgm:cxn modelId="{A5121E49-0C62-42C5-80AE-A095B55584CD}" type="presParOf" srcId="{ACAA4D9D-EB44-40C6-B573-8225D83719A1}" destId="{FB47BEDE-F75A-4794-8096-D24CBA4A36E9}" srcOrd="10" destOrd="0" presId="urn:microsoft.com/office/officeart/2005/8/layout/cycle1"/>
    <dgm:cxn modelId="{BE2D3619-0599-423E-A319-013160B63691}" type="presParOf" srcId="{ACAA4D9D-EB44-40C6-B573-8225D83719A1}" destId="{4DA42556-C1D9-411F-963B-0113C6755277}" srcOrd="11" destOrd="0" presId="urn:microsoft.com/office/officeart/2005/8/layout/cycle1"/>
    <dgm:cxn modelId="{A8FAED69-A593-4201-9679-8B3153A65180}" type="presParOf" srcId="{ACAA4D9D-EB44-40C6-B573-8225D83719A1}" destId="{97944E4E-8C1F-479D-ACCA-44F7410A3CD4}" srcOrd="12" destOrd="0" presId="urn:microsoft.com/office/officeart/2005/8/layout/cycle1"/>
    <dgm:cxn modelId="{112628F6-C8BF-4553-A491-0F0FC95042F7}" type="presParOf" srcId="{ACAA4D9D-EB44-40C6-B573-8225D83719A1}" destId="{7F755349-D619-4F98-A424-2A7BF070A7B3}" srcOrd="13" destOrd="0" presId="urn:microsoft.com/office/officeart/2005/8/layout/cycle1"/>
    <dgm:cxn modelId="{3D255979-E08E-4E26-AEEB-ECDADA25E64D}" type="presParOf" srcId="{ACAA4D9D-EB44-40C6-B573-8225D83719A1}" destId="{99D44B37-AA99-436F-B919-4763FF4EEDED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F8C362-7DD0-714B-A9A4-87C0E126AA60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EFBDD44-3FF9-AC42-863D-850EFD04F3C2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 rtl="0"/>
          <a:r>
            <a:rPr lang="en-US">
              <a:latin typeface="Montserrat"/>
            </a:rPr>
            <a:t>1. Exploratory Data Analysis</a:t>
          </a:r>
        </a:p>
      </dgm:t>
    </dgm:pt>
    <dgm:pt modelId="{079655CF-E2D7-844A-8DA3-6F0DBA0F2D42}" type="parTrans" cxnId="{B4338AB4-4C1F-8D47-BBF4-98EE19C3CCDE}">
      <dgm:prSet/>
      <dgm:spPr/>
      <dgm:t>
        <a:bodyPr/>
        <a:lstStyle/>
        <a:p>
          <a:endParaRPr lang="en-US"/>
        </a:p>
      </dgm:t>
    </dgm:pt>
    <dgm:pt modelId="{908E1B85-FD7A-8946-B8BD-5EB7486B6B83}" type="sibTrans" cxnId="{B4338AB4-4C1F-8D47-BBF4-98EE19C3CCDE}">
      <dgm:prSet/>
      <dgm:spPr/>
      <dgm:t>
        <a:bodyPr/>
        <a:lstStyle/>
        <a:p>
          <a:endParaRPr lang="en-US"/>
        </a:p>
      </dgm:t>
    </dgm:pt>
    <dgm:pt modelId="{77BDF704-6540-3C45-B582-533BADAAAF79}">
      <dgm:prSet phldrT="[Text]"/>
      <dgm:spPr/>
      <dgm:t>
        <a:bodyPr/>
        <a:lstStyle/>
        <a:p>
          <a:pPr rtl="0"/>
          <a:r>
            <a:rPr lang="en-US">
              <a:latin typeface="Spectral"/>
            </a:rPr>
            <a:t>Researched Microsoft's definition of features </a:t>
          </a:r>
        </a:p>
      </dgm:t>
    </dgm:pt>
    <dgm:pt modelId="{40DD7419-E2EF-F248-9282-5031A046A605}" type="parTrans" cxnId="{FDD4A685-B9B1-4942-B409-71D5B339D464}">
      <dgm:prSet/>
      <dgm:spPr/>
      <dgm:t>
        <a:bodyPr/>
        <a:lstStyle/>
        <a:p>
          <a:endParaRPr lang="en-US"/>
        </a:p>
      </dgm:t>
    </dgm:pt>
    <dgm:pt modelId="{B224313A-EFB9-D349-AF39-295DE0CC5DCB}" type="sibTrans" cxnId="{FDD4A685-B9B1-4942-B409-71D5B339D464}">
      <dgm:prSet/>
      <dgm:spPr/>
      <dgm:t>
        <a:bodyPr/>
        <a:lstStyle/>
        <a:p>
          <a:endParaRPr lang="en-US"/>
        </a:p>
      </dgm:t>
    </dgm:pt>
    <dgm:pt modelId="{2DC8586D-D285-754D-BEF1-36D2DEF32BF0}">
      <dgm:prSet phldrT="[Text]"/>
      <dgm:spPr/>
      <dgm:t>
        <a:bodyPr/>
        <a:lstStyle/>
        <a:p>
          <a:pPr rtl="0"/>
          <a:r>
            <a:rPr lang="en-US">
              <a:latin typeface="Spectral"/>
            </a:rPr>
            <a:t>Distinguished categorical from continuous variables </a:t>
          </a:r>
        </a:p>
      </dgm:t>
    </dgm:pt>
    <dgm:pt modelId="{D1B65F3C-9E4F-6C4A-A9C1-A8C6C9B71CB5}" type="parTrans" cxnId="{3E669D1B-471A-1C4D-BC0C-768115D30273}">
      <dgm:prSet/>
      <dgm:spPr/>
      <dgm:t>
        <a:bodyPr/>
        <a:lstStyle/>
        <a:p>
          <a:endParaRPr lang="en-US"/>
        </a:p>
      </dgm:t>
    </dgm:pt>
    <dgm:pt modelId="{14F36506-8293-3B41-9119-39932B70347F}" type="sibTrans" cxnId="{3E669D1B-471A-1C4D-BC0C-768115D30273}">
      <dgm:prSet/>
      <dgm:spPr/>
      <dgm:t>
        <a:bodyPr/>
        <a:lstStyle/>
        <a:p>
          <a:endParaRPr lang="en-US"/>
        </a:p>
      </dgm:t>
    </dgm:pt>
    <dgm:pt modelId="{16765473-F588-4148-BAD0-87DD5367383F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en-US" sz="2000">
              <a:latin typeface="Montserrat"/>
            </a:rPr>
            <a:t>2. Drop, Rename, and Merge Features</a:t>
          </a:r>
        </a:p>
      </dgm:t>
    </dgm:pt>
    <dgm:pt modelId="{25FD8222-CEEF-5046-9B9D-2E69FE2916E9}" type="parTrans" cxnId="{458D335E-3675-B44D-919F-A01E55C3431B}">
      <dgm:prSet/>
      <dgm:spPr/>
      <dgm:t>
        <a:bodyPr/>
        <a:lstStyle/>
        <a:p>
          <a:endParaRPr lang="en-US"/>
        </a:p>
      </dgm:t>
    </dgm:pt>
    <dgm:pt modelId="{6989938A-FB05-824D-9C7B-D0ED3A6A2BC3}" type="sibTrans" cxnId="{458D335E-3675-B44D-919F-A01E55C3431B}">
      <dgm:prSet/>
      <dgm:spPr/>
      <dgm:t>
        <a:bodyPr/>
        <a:lstStyle/>
        <a:p>
          <a:endParaRPr lang="en-US"/>
        </a:p>
      </dgm:t>
    </dgm:pt>
    <dgm:pt modelId="{829241DC-5B0D-0F43-95C0-F1562310E69D}">
      <dgm:prSet phldrT="[Text]"/>
      <dgm:spPr/>
      <dgm:t>
        <a:bodyPr/>
        <a:lstStyle/>
        <a:p>
          <a:r>
            <a:rPr lang="en-US">
              <a:latin typeface="Spectral"/>
            </a:rPr>
            <a:t>Dropped redundant and empty columns</a:t>
          </a:r>
        </a:p>
      </dgm:t>
    </dgm:pt>
    <dgm:pt modelId="{F42B4D17-BBC7-6742-A1E2-E2337BC56072}" type="parTrans" cxnId="{5E4E76E0-06E1-BC43-B1D1-3B48D4655733}">
      <dgm:prSet/>
      <dgm:spPr/>
      <dgm:t>
        <a:bodyPr/>
        <a:lstStyle/>
        <a:p>
          <a:endParaRPr lang="en-US"/>
        </a:p>
      </dgm:t>
    </dgm:pt>
    <dgm:pt modelId="{32F89C3D-D070-C145-86D8-C112F30F7272}" type="sibTrans" cxnId="{5E4E76E0-06E1-BC43-B1D1-3B48D4655733}">
      <dgm:prSet/>
      <dgm:spPr/>
      <dgm:t>
        <a:bodyPr/>
        <a:lstStyle/>
        <a:p>
          <a:endParaRPr lang="en-US"/>
        </a:p>
      </dgm:t>
    </dgm:pt>
    <dgm:pt modelId="{04E78634-D66A-334B-A494-EEA9BF7A1AA1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>
              <a:latin typeface="Montserrat"/>
            </a:rPr>
            <a:t>4. Scaling and Ordinal Encoding</a:t>
          </a:r>
        </a:p>
      </dgm:t>
    </dgm:pt>
    <dgm:pt modelId="{2A2E61F0-E3C6-2549-B849-D39913B2FDFF}" type="parTrans" cxnId="{ABC7B515-377F-7F44-B467-A24846CE987D}">
      <dgm:prSet/>
      <dgm:spPr/>
      <dgm:t>
        <a:bodyPr/>
        <a:lstStyle/>
        <a:p>
          <a:endParaRPr lang="en-US"/>
        </a:p>
      </dgm:t>
    </dgm:pt>
    <dgm:pt modelId="{89E23FDB-E2B1-B544-804F-DA710311819A}" type="sibTrans" cxnId="{ABC7B515-377F-7F44-B467-A24846CE987D}">
      <dgm:prSet/>
      <dgm:spPr/>
      <dgm:t>
        <a:bodyPr/>
        <a:lstStyle/>
        <a:p>
          <a:endParaRPr lang="en-US"/>
        </a:p>
      </dgm:t>
    </dgm:pt>
    <dgm:pt modelId="{531E2DFC-62C4-DA48-A8F1-B9B13289A81C}">
      <dgm:prSet phldrT="[Text]"/>
      <dgm:spPr/>
      <dgm:t>
        <a:bodyPr/>
        <a:lstStyle/>
        <a:p>
          <a:r>
            <a:rPr lang="en-US">
              <a:latin typeface="Spectral"/>
            </a:rPr>
            <a:t>Scaled continuous variables to mean: 0, </a:t>
          </a:r>
          <a:r>
            <a:rPr lang="en-US" err="1">
              <a:latin typeface="Spectral"/>
            </a:rPr>
            <a:t>stdev</a:t>
          </a:r>
          <a:r>
            <a:rPr lang="en-US">
              <a:latin typeface="Spectral"/>
            </a:rPr>
            <a:t>: 1</a:t>
          </a:r>
        </a:p>
      </dgm:t>
    </dgm:pt>
    <dgm:pt modelId="{E2A0CFD6-80B5-4140-BBF9-740FFC56C5AD}" type="parTrans" cxnId="{4FDDC1DF-820A-E344-B1E0-C3CB28D90321}">
      <dgm:prSet/>
      <dgm:spPr/>
      <dgm:t>
        <a:bodyPr/>
        <a:lstStyle/>
        <a:p>
          <a:endParaRPr lang="en-US"/>
        </a:p>
      </dgm:t>
    </dgm:pt>
    <dgm:pt modelId="{BE09F580-EDD9-6F4E-8B9F-037B78972171}" type="sibTrans" cxnId="{4FDDC1DF-820A-E344-B1E0-C3CB28D90321}">
      <dgm:prSet/>
      <dgm:spPr/>
      <dgm:t>
        <a:bodyPr/>
        <a:lstStyle/>
        <a:p>
          <a:endParaRPr lang="en-US"/>
        </a:p>
      </dgm:t>
    </dgm:pt>
    <dgm:pt modelId="{E99373E5-27CD-7D4C-9852-87772CD1A4C5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>
              <a:latin typeface="Montserrat"/>
            </a:rPr>
            <a:t>3. Imputation</a:t>
          </a:r>
        </a:p>
      </dgm:t>
    </dgm:pt>
    <dgm:pt modelId="{F8D996BF-5CB7-A44B-A3FB-ED25CACF8FB9}" type="parTrans" cxnId="{87F17200-B069-4B41-A24F-4C929F59EB9F}">
      <dgm:prSet/>
      <dgm:spPr/>
      <dgm:t>
        <a:bodyPr/>
        <a:lstStyle/>
        <a:p>
          <a:endParaRPr lang="en-US"/>
        </a:p>
      </dgm:t>
    </dgm:pt>
    <dgm:pt modelId="{42DA488B-077B-D648-A275-CDDB396FA62B}" type="sibTrans" cxnId="{87F17200-B069-4B41-A24F-4C929F59EB9F}">
      <dgm:prSet/>
      <dgm:spPr/>
      <dgm:t>
        <a:bodyPr/>
        <a:lstStyle/>
        <a:p>
          <a:endParaRPr lang="en-US"/>
        </a:p>
      </dgm:t>
    </dgm:pt>
    <dgm:pt modelId="{8731EA6B-1E38-9C48-968B-B4665BCBF762}">
      <dgm:prSet phldrT="[Text]"/>
      <dgm:spPr/>
      <dgm:t>
        <a:bodyPr/>
        <a:lstStyle/>
        <a:p>
          <a:r>
            <a:rPr lang="en-US">
              <a:latin typeface="Spectral"/>
            </a:rPr>
            <a:t>Stripped "Census_" from all feature names</a:t>
          </a:r>
        </a:p>
      </dgm:t>
    </dgm:pt>
    <dgm:pt modelId="{4033F319-71DA-FE4C-A7CF-6B07339FCDF5}" type="parTrans" cxnId="{D5F9F456-BF66-C24E-9A3C-EA4B45E57528}">
      <dgm:prSet/>
      <dgm:spPr/>
      <dgm:t>
        <a:bodyPr/>
        <a:lstStyle/>
        <a:p>
          <a:endParaRPr lang="en-US"/>
        </a:p>
      </dgm:t>
    </dgm:pt>
    <dgm:pt modelId="{8B431860-DFA4-2940-B334-7CEE886AE688}" type="sibTrans" cxnId="{D5F9F456-BF66-C24E-9A3C-EA4B45E57528}">
      <dgm:prSet/>
      <dgm:spPr/>
      <dgm:t>
        <a:bodyPr/>
        <a:lstStyle/>
        <a:p>
          <a:endParaRPr lang="en-US"/>
        </a:p>
      </dgm:t>
    </dgm:pt>
    <dgm:pt modelId="{D9866462-35E5-1747-95BB-B0D340CF9505}">
      <dgm:prSet/>
      <dgm:spPr/>
      <dgm:t>
        <a:bodyPr/>
        <a:lstStyle/>
        <a:p>
          <a:r>
            <a:rPr lang="en-US">
              <a:latin typeface="Spectral"/>
            </a:rPr>
            <a:t>For cont. variables, decided on mean or zero imputer</a:t>
          </a:r>
        </a:p>
      </dgm:t>
    </dgm:pt>
    <dgm:pt modelId="{04F5D621-4D47-0742-B6A5-9DC265C0961F}" type="parTrans" cxnId="{F71C7994-A6E5-2242-ACC7-462ED0A183FD}">
      <dgm:prSet/>
      <dgm:spPr/>
      <dgm:t>
        <a:bodyPr/>
        <a:lstStyle/>
        <a:p>
          <a:endParaRPr lang="en-US"/>
        </a:p>
      </dgm:t>
    </dgm:pt>
    <dgm:pt modelId="{ED80A43C-9A43-BE49-B8AB-3F0B6929FABA}" type="sibTrans" cxnId="{F71C7994-A6E5-2242-ACC7-462ED0A183FD}">
      <dgm:prSet/>
      <dgm:spPr/>
      <dgm:t>
        <a:bodyPr/>
        <a:lstStyle/>
        <a:p>
          <a:endParaRPr lang="en-US"/>
        </a:p>
      </dgm:t>
    </dgm:pt>
    <dgm:pt modelId="{C7D40871-127B-434A-9198-B9AA0D9D34CF}">
      <dgm:prSet/>
      <dgm:spPr/>
      <dgm:t>
        <a:bodyPr/>
        <a:lstStyle/>
        <a:p>
          <a:r>
            <a:rPr lang="en-US">
              <a:latin typeface="Spectral"/>
            </a:rPr>
            <a:t>For cat. variables, decided on "other"/"none" imputer</a:t>
          </a:r>
        </a:p>
      </dgm:t>
    </dgm:pt>
    <dgm:pt modelId="{E04CCDBA-4343-7B4B-90C0-FA73FBD628F1}" type="parTrans" cxnId="{D0CD47B6-B84B-024C-83BE-87452F3ECE7D}">
      <dgm:prSet/>
      <dgm:spPr/>
      <dgm:t>
        <a:bodyPr/>
        <a:lstStyle/>
        <a:p>
          <a:endParaRPr lang="en-US"/>
        </a:p>
      </dgm:t>
    </dgm:pt>
    <dgm:pt modelId="{A10DDB0E-5C68-9248-8E23-E6718CC9D58E}" type="sibTrans" cxnId="{D0CD47B6-B84B-024C-83BE-87452F3ECE7D}">
      <dgm:prSet/>
      <dgm:spPr/>
      <dgm:t>
        <a:bodyPr/>
        <a:lstStyle/>
        <a:p>
          <a:endParaRPr lang="en-US"/>
        </a:p>
      </dgm:t>
    </dgm:pt>
    <dgm:pt modelId="{CB9D0876-99AF-9B44-B255-29588503BA87}">
      <dgm:prSet phldrT="[Text]"/>
      <dgm:spPr/>
      <dgm:t>
        <a:bodyPr/>
        <a:lstStyle/>
        <a:p>
          <a:r>
            <a:rPr lang="en-US">
              <a:latin typeface="Spectral"/>
            </a:rPr>
            <a:t>Coded all cat. variable labels numerically</a:t>
          </a:r>
        </a:p>
      </dgm:t>
    </dgm:pt>
    <dgm:pt modelId="{E77CE51E-D96F-804A-B731-20EA1EED79FC}" type="parTrans" cxnId="{23E45D61-AF6A-DD40-A55E-9AF114F7E462}">
      <dgm:prSet/>
      <dgm:spPr/>
      <dgm:t>
        <a:bodyPr/>
        <a:lstStyle/>
        <a:p>
          <a:endParaRPr lang="en-US"/>
        </a:p>
      </dgm:t>
    </dgm:pt>
    <dgm:pt modelId="{CDBAA0BF-C5E4-0C42-8AF7-09A203A9185F}" type="sibTrans" cxnId="{23E45D61-AF6A-DD40-A55E-9AF114F7E462}">
      <dgm:prSet/>
      <dgm:spPr/>
      <dgm:t>
        <a:bodyPr/>
        <a:lstStyle/>
        <a:p>
          <a:endParaRPr lang="en-US"/>
        </a:p>
      </dgm:t>
    </dgm:pt>
    <dgm:pt modelId="{15E9181A-1251-6A4F-8F7B-AA157F4E6DD3}">
      <dgm:prSet phldrT="[Text]"/>
      <dgm:spPr/>
      <dgm:t>
        <a:bodyPr/>
        <a:lstStyle/>
        <a:p>
          <a:r>
            <a:rPr lang="en-US">
              <a:latin typeface="Spectral"/>
            </a:rPr>
            <a:t>Merged redundant labels</a:t>
          </a:r>
        </a:p>
      </dgm:t>
    </dgm:pt>
    <dgm:pt modelId="{0AF6498E-51A6-EB41-81EA-37E2F4D56746}" type="parTrans" cxnId="{6303E797-C864-634B-88BA-6A9E0D9782C9}">
      <dgm:prSet/>
      <dgm:spPr/>
      <dgm:t>
        <a:bodyPr/>
        <a:lstStyle/>
        <a:p>
          <a:endParaRPr lang="en-US"/>
        </a:p>
      </dgm:t>
    </dgm:pt>
    <dgm:pt modelId="{FE75B941-BCE9-7248-879D-0FDB5440EE01}" type="sibTrans" cxnId="{6303E797-C864-634B-88BA-6A9E0D9782C9}">
      <dgm:prSet/>
      <dgm:spPr/>
      <dgm:t>
        <a:bodyPr/>
        <a:lstStyle/>
        <a:p>
          <a:endParaRPr lang="en-US"/>
        </a:p>
      </dgm:t>
    </dgm:pt>
    <dgm:pt modelId="{DB7D97BB-DC0C-FC4F-9C92-F125C38A58B0}" type="pres">
      <dgm:prSet presAssocID="{2DF8C362-7DD0-714B-A9A4-87C0E126AA60}" presName="linear" presStyleCnt="0">
        <dgm:presLayoutVars>
          <dgm:animLvl val="lvl"/>
          <dgm:resizeHandles val="exact"/>
        </dgm:presLayoutVars>
      </dgm:prSet>
      <dgm:spPr/>
    </dgm:pt>
    <dgm:pt modelId="{F98251BD-C022-BE4B-A5C0-2A0DCF0F022F}" type="pres">
      <dgm:prSet presAssocID="{2EFBDD44-3FF9-AC42-863D-850EFD04F3C2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108634B-973D-F247-A8E8-EF6C0A1EC821}" type="pres">
      <dgm:prSet presAssocID="{2EFBDD44-3FF9-AC42-863D-850EFD04F3C2}" presName="childText" presStyleLbl="revTx" presStyleIdx="0" presStyleCnt="4">
        <dgm:presLayoutVars>
          <dgm:bulletEnabled val="1"/>
        </dgm:presLayoutVars>
      </dgm:prSet>
      <dgm:spPr/>
    </dgm:pt>
    <dgm:pt modelId="{7364C035-4F7B-4F41-90AA-C6FC8B7D7EE1}" type="pres">
      <dgm:prSet presAssocID="{16765473-F588-4148-BAD0-87DD5367383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BD415399-3115-4241-853E-B62F2DA6893D}" type="pres">
      <dgm:prSet presAssocID="{16765473-F588-4148-BAD0-87DD5367383F}" presName="childText" presStyleLbl="revTx" presStyleIdx="1" presStyleCnt="4">
        <dgm:presLayoutVars>
          <dgm:bulletEnabled val="1"/>
        </dgm:presLayoutVars>
      </dgm:prSet>
      <dgm:spPr/>
    </dgm:pt>
    <dgm:pt modelId="{9DA68229-4007-A94D-BAFB-8ACE67367A35}" type="pres">
      <dgm:prSet presAssocID="{E99373E5-27CD-7D4C-9852-87772CD1A4C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B1E6F874-93EF-7341-A6EF-A37F8417D6A0}" type="pres">
      <dgm:prSet presAssocID="{E99373E5-27CD-7D4C-9852-87772CD1A4C5}" presName="childText" presStyleLbl="revTx" presStyleIdx="2" presStyleCnt="4">
        <dgm:presLayoutVars>
          <dgm:bulletEnabled val="1"/>
        </dgm:presLayoutVars>
      </dgm:prSet>
      <dgm:spPr/>
    </dgm:pt>
    <dgm:pt modelId="{185F41EB-26F4-A345-8820-3FBF9AD0564D}" type="pres">
      <dgm:prSet presAssocID="{04E78634-D66A-334B-A494-EEA9BF7A1AA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765EE26A-6BBC-AE46-BB51-94B14EDE6543}" type="pres">
      <dgm:prSet presAssocID="{04E78634-D66A-334B-A494-EEA9BF7A1AA1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87F17200-B069-4B41-A24F-4C929F59EB9F}" srcId="{2DF8C362-7DD0-714B-A9A4-87C0E126AA60}" destId="{E99373E5-27CD-7D4C-9852-87772CD1A4C5}" srcOrd="2" destOrd="0" parTransId="{F8D996BF-5CB7-A44B-A3FB-ED25CACF8FB9}" sibTransId="{42DA488B-077B-D648-A275-CDDB396FA62B}"/>
    <dgm:cxn modelId="{ABC7B515-377F-7F44-B467-A24846CE987D}" srcId="{2DF8C362-7DD0-714B-A9A4-87C0E126AA60}" destId="{04E78634-D66A-334B-A494-EEA9BF7A1AA1}" srcOrd="3" destOrd="0" parTransId="{2A2E61F0-E3C6-2549-B849-D39913B2FDFF}" sibTransId="{89E23FDB-E2B1-B544-804F-DA710311819A}"/>
    <dgm:cxn modelId="{D63FFA17-1623-C044-9B51-ACE2D46C859C}" type="presOf" srcId="{04E78634-D66A-334B-A494-EEA9BF7A1AA1}" destId="{185F41EB-26F4-A345-8820-3FBF9AD0564D}" srcOrd="0" destOrd="0" presId="urn:microsoft.com/office/officeart/2005/8/layout/vList2"/>
    <dgm:cxn modelId="{3E669D1B-471A-1C4D-BC0C-768115D30273}" srcId="{2EFBDD44-3FF9-AC42-863D-850EFD04F3C2}" destId="{2DC8586D-D285-754D-BEF1-36D2DEF32BF0}" srcOrd="1" destOrd="0" parTransId="{D1B65F3C-9E4F-6C4A-A9C1-A8C6C9B71CB5}" sibTransId="{14F36506-8293-3B41-9119-39932B70347F}"/>
    <dgm:cxn modelId="{1CEF061F-EE3C-9E41-A690-585A3340EF02}" type="presOf" srcId="{CB9D0876-99AF-9B44-B255-29588503BA87}" destId="{765EE26A-6BBC-AE46-BB51-94B14EDE6543}" srcOrd="0" destOrd="1" presId="urn:microsoft.com/office/officeart/2005/8/layout/vList2"/>
    <dgm:cxn modelId="{21A19429-DC3B-0943-9B34-9B6B703ED8C5}" type="presOf" srcId="{2DF8C362-7DD0-714B-A9A4-87C0E126AA60}" destId="{DB7D97BB-DC0C-FC4F-9C92-F125C38A58B0}" srcOrd="0" destOrd="0" presId="urn:microsoft.com/office/officeart/2005/8/layout/vList2"/>
    <dgm:cxn modelId="{B026CA3A-BD86-904F-A785-15C92224206B}" type="presOf" srcId="{2EFBDD44-3FF9-AC42-863D-850EFD04F3C2}" destId="{F98251BD-C022-BE4B-A5C0-2A0DCF0F022F}" srcOrd="0" destOrd="0" presId="urn:microsoft.com/office/officeart/2005/8/layout/vList2"/>
    <dgm:cxn modelId="{E702D73F-CF89-384E-8A66-E153F0FBEF18}" type="presOf" srcId="{829241DC-5B0D-0F43-95C0-F1562310E69D}" destId="{BD415399-3115-4241-853E-B62F2DA6893D}" srcOrd="0" destOrd="0" presId="urn:microsoft.com/office/officeart/2005/8/layout/vList2"/>
    <dgm:cxn modelId="{458D335E-3675-B44D-919F-A01E55C3431B}" srcId="{2DF8C362-7DD0-714B-A9A4-87C0E126AA60}" destId="{16765473-F588-4148-BAD0-87DD5367383F}" srcOrd="1" destOrd="0" parTransId="{25FD8222-CEEF-5046-9B9D-2E69FE2916E9}" sibTransId="{6989938A-FB05-824D-9C7B-D0ED3A6A2BC3}"/>
    <dgm:cxn modelId="{23E45D61-AF6A-DD40-A55E-9AF114F7E462}" srcId="{04E78634-D66A-334B-A494-EEA9BF7A1AA1}" destId="{CB9D0876-99AF-9B44-B255-29588503BA87}" srcOrd="1" destOrd="0" parTransId="{E77CE51E-D96F-804A-B731-20EA1EED79FC}" sibTransId="{CDBAA0BF-C5E4-0C42-8AF7-09A203A9185F}"/>
    <dgm:cxn modelId="{4F894A42-AB28-9445-BC89-E566AB0708F5}" type="presOf" srcId="{16765473-F588-4148-BAD0-87DD5367383F}" destId="{7364C035-4F7B-4F41-90AA-C6FC8B7D7EE1}" srcOrd="0" destOrd="0" presId="urn:microsoft.com/office/officeart/2005/8/layout/vList2"/>
    <dgm:cxn modelId="{AF1AFA65-38FB-8542-B131-5F36A1A05993}" type="presOf" srcId="{531E2DFC-62C4-DA48-A8F1-B9B13289A81C}" destId="{765EE26A-6BBC-AE46-BB51-94B14EDE6543}" srcOrd="0" destOrd="0" presId="urn:microsoft.com/office/officeart/2005/8/layout/vList2"/>
    <dgm:cxn modelId="{E73AAB46-886C-984D-AD52-EE685043E58A}" type="presOf" srcId="{E99373E5-27CD-7D4C-9852-87772CD1A4C5}" destId="{9DA68229-4007-A94D-BAFB-8ACE67367A35}" srcOrd="0" destOrd="0" presId="urn:microsoft.com/office/officeart/2005/8/layout/vList2"/>
    <dgm:cxn modelId="{F59DB453-538F-FB43-86DD-9A76DEB5025F}" type="presOf" srcId="{77BDF704-6540-3C45-B582-533BADAAAF79}" destId="{6108634B-973D-F247-A8E8-EF6C0A1EC821}" srcOrd="0" destOrd="0" presId="urn:microsoft.com/office/officeart/2005/8/layout/vList2"/>
    <dgm:cxn modelId="{D5F9F456-BF66-C24E-9A3C-EA4B45E57528}" srcId="{16765473-F588-4148-BAD0-87DD5367383F}" destId="{8731EA6B-1E38-9C48-968B-B4665BCBF762}" srcOrd="1" destOrd="0" parTransId="{4033F319-71DA-FE4C-A7CF-6B07339FCDF5}" sibTransId="{8B431860-DFA4-2940-B334-7CEE886AE688}"/>
    <dgm:cxn modelId="{7D2E0F57-B5E7-6E4E-9D3C-967163783802}" type="presOf" srcId="{D9866462-35E5-1747-95BB-B0D340CF9505}" destId="{B1E6F874-93EF-7341-A6EF-A37F8417D6A0}" srcOrd="0" destOrd="0" presId="urn:microsoft.com/office/officeart/2005/8/layout/vList2"/>
    <dgm:cxn modelId="{FDD4A685-B9B1-4942-B409-71D5B339D464}" srcId="{2EFBDD44-3FF9-AC42-863D-850EFD04F3C2}" destId="{77BDF704-6540-3C45-B582-533BADAAAF79}" srcOrd="0" destOrd="0" parTransId="{40DD7419-E2EF-F248-9282-5031A046A605}" sibTransId="{B224313A-EFB9-D349-AF39-295DE0CC5DCB}"/>
    <dgm:cxn modelId="{F71C7994-A6E5-2242-ACC7-462ED0A183FD}" srcId="{E99373E5-27CD-7D4C-9852-87772CD1A4C5}" destId="{D9866462-35E5-1747-95BB-B0D340CF9505}" srcOrd="0" destOrd="0" parTransId="{04F5D621-4D47-0742-B6A5-9DC265C0961F}" sibTransId="{ED80A43C-9A43-BE49-B8AB-3F0B6929FABA}"/>
    <dgm:cxn modelId="{6303E797-C864-634B-88BA-6A9E0D9782C9}" srcId="{16765473-F588-4148-BAD0-87DD5367383F}" destId="{15E9181A-1251-6A4F-8F7B-AA157F4E6DD3}" srcOrd="2" destOrd="0" parTransId="{0AF6498E-51A6-EB41-81EA-37E2F4D56746}" sibTransId="{FE75B941-BCE9-7248-879D-0FDB5440EE01}"/>
    <dgm:cxn modelId="{DD802A99-D134-E048-9788-5A1CC3348614}" type="presOf" srcId="{2DC8586D-D285-754D-BEF1-36D2DEF32BF0}" destId="{6108634B-973D-F247-A8E8-EF6C0A1EC821}" srcOrd="0" destOrd="1" presId="urn:microsoft.com/office/officeart/2005/8/layout/vList2"/>
    <dgm:cxn modelId="{B4338AB4-4C1F-8D47-BBF4-98EE19C3CCDE}" srcId="{2DF8C362-7DD0-714B-A9A4-87C0E126AA60}" destId="{2EFBDD44-3FF9-AC42-863D-850EFD04F3C2}" srcOrd="0" destOrd="0" parTransId="{079655CF-E2D7-844A-8DA3-6F0DBA0F2D42}" sibTransId="{908E1B85-FD7A-8946-B8BD-5EB7486B6B83}"/>
    <dgm:cxn modelId="{D0CD47B6-B84B-024C-83BE-87452F3ECE7D}" srcId="{E99373E5-27CD-7D4C-9852-87772CD1A4C5}" destId="{C7D40871-127B-434A-9198-B9AA0D9D34CF}" srcOrd="1" destOrd="0" parTransId="{E04CCDBA-4343-7B4B-90C0-FA73FBD628F1}" sibTransId="{A10DDB0E-5C68-9248-8E23-E6718CC9D58E}"/>
    <dgm:cxn modelId="{1B2623DB-F290-3845-AAB2-7A2964216F24}" type="presOf" srcId="{8731EA6B-1E38-9C48-968B-B4665BCBF762}" destId="{BD415399-3115-4241-853E-B62F2DA6893D}" srcOrd="0" destOrd="1" presId="urn:microsoft.com/office/officeart/2005/8/layout/vList2"/>
    <dgm:cxn modelId="{E3AC1DDC-72B4-5945-9ADC-CE072B3B90A8}" type="presOf" srcId="{C7D40871-127B-434A-9198-B9AA0D9D34CF}" destId="{B1E6F874-93EF-7341-A6EF-A37F8417D6A0}" srcOrd="0" destOrd="1" presId="urn:microsoft.com/office/officeart/2005/8/layout/vList2"/>
    <dgm:cxn modelId="{4FDDC1DF-820A-E344-B1E0-C3CB28D90321}" srcId="{04E78634-D66A-334B-A494-EEA9BF7A1AA1}" destId="{531E2DFC-62C4-DA48-A8F1-B9B13289A81C}" srcOrd="0" destOrd="0" parTransId="{E2A0CFD6-80B5-4140-BBF9-740FFC56C5AD}" sibTransId="{BE09F580-EDD9-6F4E-8B9F-037B78972171}"/>
    <dgm:cxn modelId="{5E4E76E0-06E1-BC43-B1D1-3B48D4655733}" srcId="{16765473-F588-4148-BAD0-87DD5367383F}" destId="{829241DC-5B0D-0F43-95C0-F1562310E69D}" srcOrd="0" destOrd="0" parTransId="{F42B4D17-BBC7-6742-A1E2-E2337BC56072}" sibTransId="{32F89C3D-D070-C145-86D8-C112F30F7272}"/>
    <dgm:cxn modelId="{703025FA-5641-3D4D-AEA6-9AED26DC9000}" type="presOf" srcId="{15E9181A-1251-6A4F-8F7B-AA157F4E6DD3}" destId="{BD415399-3115-4241-853E-B62F2DA6893D}" srcOrd="0" destOrd="2" presId="urn:microsoft.com/office/officeart/2005/8/layout/vList2"/>
    <dgm:cxn modelId="{C982D548-9621-3745-ADF9-5EAE7313E1B0}" type="presParOf" srcId="{DB7D97BB-DC0C-FC4F-9C92-F125C38A58B0}" destId="{F98251BD-C022-BE4B-A5C0-2A0DCF0F022F}" srcOrd="0" destOrd="0" presId="urn:microsoft.com/office/officeart/2005/8/layout/vList2"/>
    <dgm:cxn modelId="{73F7B096-D3B4-4D4C-BEC9-D4AB630C6092}" type="presParOf" srcId="{DB7D97BB-DC0C-FC4F-9C92-F125C38A58B0}" destId="{6108634B-973D-F247-A8E8-EF6C0A1EC821}" srcOrd="1" destOrd="0" presId="urn:microsoft.com/office/officeart/2005/8/layout/vList2"/>
    <dgm:cxn modelId="{EDA84FE7-62C0-5B44-9269-9D29B1680641}" type="presParOf" srcId="{DB7D97BB-DC0C-FC4F-9C92-F125C38A58B0}" destId="{7364C035-4F7B-4F41-90AA-C6FC8B7D7EE1}" srcOrd="2" destOrd="0" presId="urn:microsoft.com/office/officeart/2005/8/layout/vList2"/>
    <dgm:cxn modelId="{0C95EC8A-7841-E14A-92EC-596E38D5857E}" type="presParOf" srcId="{DB7D97BB-DC0C-FC4F-9C92-F125C38A58B0}" destId="{BD415399-3115-4241-853E-B62F2DA6893D}" srcOrd="3" destOrd="0" presId="urn:microsoft.com/office/officeart/2005/8/layout/vList2"/>
    <dgm:cxn modelId="{9CF63DF8-2D8E-FE45-937B-5A337E939EB7}" type="presParOf" srcId="{DB7D97BB-DC0C-FC4F-9C92-F125C38A58B0}" destId="{9DA68229-4007-A94D-BAFB-8ACE67367A35}" srcOrd="4" destOrd="0" presId="urn:microsoft.com/office/officeart/2005/8/layout/vList2"/>
    <dgm:cxn modelId="{002DBEFB-4BAA-BD44-8F54-AB8F552853A5}" type="presParOf" srcId="{DB7D97BB-DC0C-FC4F-9C92-F125C38A58B0}" destId="{B1E6F874-93EF-7341-A6EF-A37F8417D6A0}" srcOrd="5" destOrd="0" presId="urn:microsoft.com/office/officeart/2005/8/layout/vList2"/>
    <dgm:cxn modelId="{0BF88809-4F0E-A044-AF2E-7EF56BE48E8F}" type="presParOf" srcId="{DB7D97BB-DC0C-FC4F-9C92-F125C38A58B0}" destId="{185F41EB-26F4-A345-8820-3FBF9AD0564D}" srcOrd="6" destOrd="0" presId="urn:microsoft.com/office/officeart/2005/8/layout/vList2"/>
    <dgm:cxn modelId="{17C869A3-7AA0-AB43-96C4-E90CC020A171}" type="presParOf" srcId="{DB7D97BB-DC0C-FC4F-9C92-F125C38A58B0}" destId="{765EE26A-6BBC-AE46-BB51-94B14EDE6543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74A9AB-3551-48FE-9F63-7BF06686973E}">
      <dsp:nvSpPr>
        <dsp:cNvPr id="0" name=""/>
        <dsp:cNvSpPr/>
      </dsp:nvSpPr>
      <dsp:spPr>
        <a:xfrm>
          <a:off x="4704665" y="39140"/>
          <a:ext cx="1341437" cy="1341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Use insights to build model</a:t>
          </a:r>
        </a:p>
      </dsp:txBody>
      <dsp:txXfrm>
        <a:off x="4704665" y="39140"/>
        <a:ext cx="1341437" cy="1341437"/>
      </dsp:txXfrm>
    </dsp:sp>
    <dsp:sp modelId="{758E1AE3-9B83-4962-96E6-76E593AEE1A9}">
      <dsp:nvSpPr>
        <dsp:cNvPr id="0" name=""/>
        <dsp:cNvSpPr/>
      </dsp:nvSpPr>
      <dsp:spPr>
        <a:xfrm>
          <a:off x="1549560" y="385"/>
          <a:ext cx="5028878" cy="5028878"/>
        </a:xfrm>
        <a:prstGeom prst="circularArrow">
          <a:avLst>
            <a:gd name="adj1" fmla="val 5202"/>
            <a:gd name="adj2" fmla="val 336015"/>
            <a:gd name="adj3" fmla="val 21292825"/>
            <a:gd name="adj4" fmla="val 19766604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D75BB2-674C-4891-BAE4-2DA0209D19E7}">
      <dsp:nvSpPr>
        <dsp:cNvPr id="0" name=""/>
        <dsp:cNvSpPr/>
      </dsp:nvSpPr>
      <dsp:spPr>
        <a:xfrm>
          <a:off x="5515145" y="2533541"/>
          <a:ext cx="1341437" cy="1341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Obtain importance of data from model</a:t>
          </a:r>
        </a:p>
      </dsp:txBody>
      <dsp:txXfrm>
        <a:off x="5515145" y="2533541"/>
        <a:ext cx="1341437" cy="1341437"/>
      </dsp:txXfrm>
    </dsp:sp>
    <dsp:sp modelId="{5096E0E1-8501-47A1-AFB0-7BF99E994C2D}">
      <dsp:nvSpPr>
        <dsp:cNvPr id="0" name=""/>
        <dsp:cNvSpPr/>
      </dsp:nvSpPr>
      <dsp:spPr>
        <a:xfrm>
          <a:off x="1549560" y="385"/>
          <a:ext cx="5028878" cy="5028878"/>
        </a:xfrm>
        <a:prstGeom prst="circularArrow">
          <a:avLst>
            <a:gd name="adj1" fmla="val 5202"/>
            <a:gd name="adj2" fmla="val 336015"/>
            <a:gd name="adj3" fmla="val 4014266"/>
            <a:gd name="adj4" fmla="val 225382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70F877-0153-4605-92FA-EDF249C135CE}">
      <dsp:nvSpPr>
        <dsp:cNvPr id="0" name=""/>
        <dsp:cNvSpPr/>
      </dsp:nvSpPr>
      <dsp:spPr>
        <a:xfrm>
          <a:off x="3393281" y="4075166"/>
          <a:ext cx="1341437" cy="1341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Re-visualize “important” data</a:t>
          </a:r>
        </a:p>
      </dsp:txBody>
      <dsp:txXfrm>
        <a:off x="3393281" y="4075166"/>
        <a:ext cx="1341437" cy="1341437"/>
      </dsp:txXfrm>
    </dsp:sp>
    <dsp:sp modelId="{25FC69C4-E522-4D44-82DE-F0542F93DA03}">
      <dsp:nvSpPr>
        <dsp:cNvPr id="0" name=""/>
        <dsp:cNvSpPr/>
      </dsp:nvSpPr>
      <dsp:spPr>
        <a:xfrm>
          <a:off x="1549560" y="385"/>
          <a:ext cx="5028878" cy="5028878"/>
        </a:xfrm>
        <a:prstGeom prst="circularArrow">
          <a:avLst>
            <a:gd name="adj1" fmla="val 5202"/>
            <a:gd name="adj2" fmla="val 336015"/>
            <a:gd name="adj3" fmla="val 8210155"/>
            <a:gd name="adj4" fmla="val 644971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47BEDE-F75A-4794-8096-D24CBA4A36E9}">
      <dsp:nvSpPr>
        <dsp:cNvPr id="0" name=""/>
        <dsp:cNvSpPr/>
      </dsp:nvSpPr>
      <dsp:spPr>
        <a:xfrm>
          <a:off x="1271416" y="2533541"/>
          <a:ext cx="1341437" cy="1341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Build insights into model and make recommendations</a:t>
          </a:r>
        </a:p>
      </dsp:txBody>
      <dsp:txXfrm>
        <a:off x="1271416" y="2533541"/>
        <a:ext cx="1341437" cy="1341437"/>
      </dsp:txXfrm>
    </dsp:sp>
    <dsp:sp modelId="{4DA42556-C1D9-411F-963B-0113C6755277}">
      <dsp:nvSpPr>
        <dsp:cNvPr id="0" name=""/>
        <dsp:cNvSpPr/>
      </dsp:nvSpPr>
      <dsp:spPr>
        <a:xfrm>
          <a:off x="1549560" y="385"/>
          <a:ext cx="5028878" cy="5028878"/>
        </a:xfrm>
        <a:prstGeom prst="circularArrow">
          <a:avLst>
            <a:gd name="adj1" fmla="val 5202"/>
            <a:gd name="adj2" fmla="val 336015"/>
            <a:gd name="adj3" fmla="val 12297380"/>
            <a:gd name="adj4" fmla="val 10771160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755349-D619-4F98-A424-2A7BF070A7B3}">
      <dsp:nvSpPr>
        <dsp:cNvPr id="0" name=""/>
        <dsp:cNvSpPr/>
      </dsp:nvSpPr>
      <dsp:spPr>
        <a:xfrm>
          <a:off x="2081896" y="39140"/>
          <a:ext cx="1341437" cy="13414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Visualize data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solidFill>
                <a:srgbClr val="00B0F0"/>
              </a:solidFill>
            </a:rPr>
            <a:t>(Start here)</a:t>
          </a:r>
        </a:p>
      </dsp:txBody>
      <dsp:txXfrm>
        <a:off x="2081896" y="39140"/>
        <a:ext cx="1341437" cy="1341437"/>
      </dsp:txXfrm>
    </dsp:sp>
    <dsp:sp modelId="{99D44B37-AA99-436F-B919-4763FF4EEDED}">
      <dsp:nvSpPr>
        <dsp:cNvPr id="0" name=""/>
        <dsp:cNvSpPr/>
      </dsp:nvSpPr>
      <dsp:spPr>
        <a:xfrm>
          <a:off x="1549560" y="385"/>
          <a:ext cx="5028878" cy="5028878"/>
        </a:xfrm>
        <a:prstGeom prst="circularArrow">
          <a:avLst>
            <a:gd name="adj1" fmla="val 5202"/>
            <a:gd name="adj2" fmla="val 336015"/>
            <a:gd name="adj3" fmla="val 16865256"/>
            <a:gd name="adj4" fmla="val 1519872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8251BD-C022-BE4B-A5C0-2A0DCF0F022F}">
      <dsp:nvSpPr>
        <dsp:cNvPr id="0" name=""/>
        <dsp:cNvSpPr/>
      </dsp:nvSpPr>
      <dsp:spPr>
        <a:xfrm>
          <a:off x="0" y="266815"/>
          <a:ext cx="5229224" cy="527670"/>
        </a:xfrm>
        <a:prstGeom prst="roundRect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Montserrat"/>
            </a:rPr>
            <a:t>1. Exploratory Data Analysis</a:t>
          </a:r>
        </a:p>
      </dsp:txBody>
      <dsp:txXfrm>
        <a:off x="25759" y="292574"/>
        <a:ext cx="5177706" cy="476152"/>
      </dsp:txXfrm>
    </dsp:sp>
    <dsp:sp modelId="{6108634B-973D-F247-A8E8-EF6C0A1EC821}">
      <dsp:nvSpPr>
        <dsp:cNvPr id="0" name=""/>
        <dsp:cNvSpPr/>
      </dsp:nvSpPr>
      <dsp:spPr>
        <a:xfrm>
          <a:off x="0" y="794485"/>
          <a:ext cx="5229224" cy="5920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028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Researched Microsoft's definition of features </a:t>
          </a: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Distinguished categorical from continuous variables </a:t>
          </a:r>
        </a:p>
      </dsp:txBody>
      <dsp:txXfrm>
        <a:off x="0" y="794485"/>
        <a:ext cx="5229224" cy="592020"/>
      </dsp:txXfrm>
    </dsp:sp>
    <dsp:sp modelId="{7364C035-4F7B-4F41-90AA-C6FC8B7D7EE1}">
      <dsp:nvSpPr>
        <dsp:cNvPr id="0" name=""/>
        <dsp:cNvSpPr/>
      </dsp:nvSpPr>
      <dsp:spPr>
        <a:xfrm>
          <a:off x="0" y="1386505"/>
          <a:ext cx="5229224" cy="52767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Montserrat"/>
            </a:rPr>
            <a:t>2. Drop, Rename, and Merge Features</a:t>
          </a:r>
        </a:p>
      </dsp:txBody>
      <dsp:txXfrm>
        <a:off x="25759" y="1412264"/>
        <a:ext cx="5177706" cy="476152"/>
      </dsp:txXfrm>
    </dsp:sp>
    <dsp:sp modelId="{BD415399-3115-4241-853E-B62F2DA6893D}">
      <dsp:nvSpPr>
        <dsp:cNvPr id="0" name=""/>
        <dsp:cNvSpPr/>
      </dsp:nvSpPr>
      <dsp:spPr>
        <a:xfrm>
          <a:off x="0" y="1914175"/>
          <a:ext cx="5229224" cy="888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028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Dropped redundant and empty column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Stripped "Census_" from all feature name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Merged redundant labels</a:t>
          </a:r>
        </a:p>
      </dsp:txBody>
      <dsp:txXfrm>
        <a:off x="0" y="1914175"/>
        <a:ext cx="5229224" cy="888030"/>
      </dsp:txXfrm>
    </dsp:sp>
    <dsp:sp modelId="{9DA68229-4007-A94D-BAFB-8ACE67367A35}">
      <dsp:nvSpPr>
        <dsp:cNvPr id="0" name=""/>
        <dsp:cNvSpPr/>
      </dsp:nvSpPr>
      <dsp:spPr>
        <a:xfrm>
          <a:off x="0" y="2802205"/>
          <a:ext cx="5229224" cy="527670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Montserrat"/>
            </a:rPr>
            <a:t>3. Imputation</a:t>
          </a:r>
        </a:p>
      </dsp:txBody>
      <dsp:txXfrm>
        <a:off x="25759" y="2827964"/>
        <a:ext cx="5177706" cy="476152"/>
      </dsp:txXfrm>
    </dsp:sp>
    <dsp:sp modelId="{B1E6F874-93EF-7341-A6EF-A37F8417D6A0}">
      <dsp:nvSpPr>
        <dsp:cNvPr id="0" name=""/>
        <dsp:cNvSpPr/>
      </dsp:nvSpPr>
      <dsp:spPr>
        <a:xfrm>
          <a:off x="0" y="3329875"/>
          <a:ext cx="5229224" cy="5920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028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For cont. variables, decided on mean or zero imputer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For cat. variables, decided on "other"/"none" imputer</a:t>
          </a:r>
        </a:p>
      </dsp:txBody>
      <dsp:txXfrm>
        <a:off x="0" y="3329875"/>
        <a:ext cx="5229224" cy="592020"/>
      </dsp:txXfrm>
    </dsp:sp>
    <dsp:sp modelId="{185F41EB-26F4-A345-8820-3FBF9AD0564D}">
      <dsp:nvSpPr>
        <dsp:cNvPr id="0" name=""/>
        <dsp:cNvSpPr/>
      </dsp:nvSpPr>
      <dsp:spPr>
        <a:xfrm>
          <a:off x="0" y="3921895"/>
          <a:ext cx="5229224" cy="527670"/>
        </a:xfrm>
        <a:prstGeom prst="roundRect">
          <a:avLst/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Montserrat"/>
            </a:rPr>
            <a:t>4. Scaling and Ordinal Encoding</a:t>
          </a:r>
        </a:p>
      </dsp:txBody>
      <dsp:txXfrm>
        <a:off x="25759" y="3947654"/>
        <a:ext cx="5177706" cy="476152"/>
      </dsp:txXfrm>
    </dsp:sp>
    <dsp:sp modelId="{765EE26A-6BBC-AE46-BB51-94B14EDE6543}">
      <dsp:nvSpPr>
        <dsp:cNvPr id="0" name=""/>
        <dsp:cNvSpPr/>
      </dsp:nvSpPr>
      <dsp:spPr>
        <a:xfrm>
          <a:off x="0" y="4449565"/>
          <a:ext cx="5229224" cy="5920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6028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Scaled continuous variables to mean: 0, </a:t>
          </a:r>
          <a:r>
            <a:rPr lang="en-US" sz="1700" kern="1200" err="1">
              <a:latin typeface="Spectral"/>
            </a:rPr>
            <a:t>stdev</a:t>
          </a:r>
          <a:r>
            <a:rPr lang="en-US" sz="1700" kern="1200">
              <a:latin typeface="Spectral"/>
            </a:rPr>
            <a:t>: 1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>
              <a:latin typeface="Spectral"/>
            </a:rPr>
            <a:t>Coded all cat. variable labels numerically</a:t>
          </a:r>
        </a:p>
      </dsp:txBody>
      <dsp:txXfrm>
        <a:off x="0" y="4449565"/>
        <a:ext cx="5229224" cy="5920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40DB6E-5D5B-4B36-83B1-9F4374A769D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774F0D-9085-4A30-914C-0427AB9CC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294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g7de4f163d5_2_9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" name="Google Shape;54;g7de4f163d5_2_93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77E4D2-BD98-462F-B34F-D2DED77D5EA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2/17/2021 2:0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0417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406034" defTabSz="931467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9287D9-CCC9-44E9-8234-147175DF4A83}" type="datetime8">
              <a:rPr lang="en-US" smtClean="0"/>
              <a:t>12/17/2021 2:0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4948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7ddf610361_3_3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/>
          </a:p>
        </p:txBody>
      </p:sp>
      <p:sp>
        <p:nvSpPr>
          <p:cNvPr id="499" name="Google Shape;499;g7ddf610361_3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723483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77E4D2-BD98-462F-B34F-D2DED77D5EA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2/17/2021 2:0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278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406034" defTabSz="931467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9287D9-CCC9-44E9-8234-147175DF4A83}" type="datetime8">
              <a:rPr lang="en-US" smtClean="0"/>
              <a:t>12/17/2021 2:0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777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77E4D2-BD98-462F-B34F-D2DED77D5EA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2/17/2021 2:0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9987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406034" defTabSz="931467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9287D9-CCC9-44E9-8234-147175DF4A83}" type="datetime8">
              <a:rPr lang="en-US" smtClean="0"/>
              <a:t>12/17/2021 2:0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2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77E4D2-BD98-462F-B34F-D2DED77D5EA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2/17/2021 2:0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194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6f2312eec1_1_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6f2312eec1_1_7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9115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7ddf610361_3_3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/>
          </a:p>
        </p:txBody>
      </p:sp>
      <p:sp>
        <p:nvSpPr>
          <p:cNvPr id="499" name="Google Shape;499;g7ddf610361_3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406034" defTabSz="931467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9287D9-CCC9-44E9-8234-147175DF4A83}" type="datetime8">
              <a:rPr lang="en-US" smtClean="0"/>
              <a:t>12/17/2021 2:0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7615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406034" defTabSz="931467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9287D9-CCC9-44E9-8234-147175DF4A83}" type="datetime8">
              <a:rPr lang="en-US" smtClean="0"/>
              <a:t>12/17/2021 2:0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642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77E4D2-BD98-462F-B34F-D2DED77D5EA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2/17/2021 2:0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594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7de4f163d5_2_14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7de4f163d5_2_14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/>
          </a:p>
        </p:txBody>
      </p:sp>
      <p:sp>
        <p:nvSpPr>
          <p:cNvPr id="139" name="Google Shape;139;g7de4f163d5_2_14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7366F-AA0C-48B2-8394-23AB7B63A9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EB587D-BF53-4A95-9E30-7B6B2B204E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191F9-7FEF-4890-8F79-E94E19898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3031F3-12C3-49AD-B5D0-D40A5466A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8775D-F62A-4D2B-B349-ECCC20C95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287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CFEF3-05BE-4D2C-9AAB-F49C84D55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5E9C7A-BD38-42F8-AF1A-E7BC613485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263B9B-4B5E-4D33-8CEF-BBE0D0A0F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D8A1B2-D58E-4391-B788-0197C40CC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181C6-F32A-49A8-B034-B8723B2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69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202829-5597-4ED9-B708-3F4923A997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2F3860-929F-48DB-8A3C-D3BAF2202C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CBBBE9-B984-4C40-987D-FE76A9FE1B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8B9D6-BE5A-4C12-AA7D-12087BA49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F425AE-567D-4576-8941-C25FC2B25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922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458173"/>
              </p:ext>
            </p:ext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212" y="253713"/>
            <a:ext cx="11292463" cy="93546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180" y="957258"/>
            <a:ext cx="11290217" cy="452654"/>
          </a:xfrm>
        </p:spPr>
        <p:txBody>
          <a:bodyPr/>
          <a:lstStyle>
            <a:lvl1pPr marL="0" indent="0"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EE050245-9263-4A7C-89C9-5DA961A30B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8212" y="6556855"/>
            <a:ext cx="1867552" cy="1357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 – Internal Only </a:t>
            </a:r>
          </a:p>
        </p:txBody>
      </p:sp>
    </p:spTree>
    <p:extLst>
      <p:ext uri="{BB962C8B-B14F-4D97-AF65-F5344CB8AC3E}">
        <p14:creationId xmlns:p14="http://schemas.microsoft.com/office/powerpoint/2010/main" val="22469200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BLACK  1">
  <p:cSld name="BLANK BLACK  1">
    <p:bg>
      <p:bgPr>
        <a:solidFill>
          <a:srgbClr val="243A5E"/>
        </a:solidFill>
        <a:effectLst/>
      </p:bgPr>
    </p:bg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88826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BLACK ">
  <p:cSld name="BLANK BLACK ">
    <p:bg>
      <p:bgPr>
        <a:solidFill>
          <a:srgbClr val="243A5E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0500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Pr>
        <a:solidFill>
          <a:srgbClr val="243A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2DE5A2-D6FD-4E5A-8C95-BE5217528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29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2DE5A2-D6FD-4E5A-8C95-BE5217528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vert="horz"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rgbClr val="50E6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46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33102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- Title 1">
  <p:cSld name="Main - Title 1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35"/>
          <p:cNvSpPr/>
          <p:nvPr/>
        </p:nvSpPr>
        <p:spPr>
          <a:xfrm>
            <a:off x="3407700" y="0"/>
            <a:ext cx="8794000" cy="6858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21" name="Google Shape;121;p35"/>
          <p:cNvSpPr txBox="1">
            <a:spLocks noGrp="1"/>
          </p:cNvSpPr>
          <p:nvPr>
            <p:ph type="title"/>
          </p:nvPr>
        </p:nvSpPr>
        <p:spPr>
          <a:xfrm>
            <a:off x="390141" y="2179644"/>
            <a:ext cx="2777600" cy="32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933" b="1">
                <a:solidFill>
                  <a:schemeClr val="dk1"/>
                </a:solidFill>
                <a:latin typeface="Google Sans"/>
                <a:ea typeface="Google Sans"/>
                <a:cs typeface="Google Sans"/>
                <a:sym typeface="Google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35"/>
          <p:cNvSpPr txBox="1">
            <a:spLocks noGrp="1"/>
          </p:cNvSpPr>
          <p:nvPr>
            <p:ph type="body" idx="1"/>
          </p:nvPr>
        </p:nvSpPr>
        <p:spPr>
          <a:xfrm>
            <a:off x="3950500" y="501501"/>
            <a:ext cx="7698800" cy="531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●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○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■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●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○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■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lvl="6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●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lvl="7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○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lvl="8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Roboto"/>
              <a:buChar char="■"/>
              <a:defRPr sz="1600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125" name="Google Shape;125;p35"/>
          <p:cNvSpPr txBox="1">
            <a:spLocks noGrp="1"/>
          </p:cNvSpPr>
          <p:nvPr>
            <p:ph type="subTitle" idx="2"/>
          </p:nvPr>
        </p:nvSpPr>
        <p:spPr>
          <a:xfrm>
            <a:off x="390133" y="366000"/>
            <a:ext cx="2777600" cy="5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defRPr>
            </a:lvl9pPr>
          </a:lstStyle>
          <a:p>
            <a:endParaRPr/>
          </a:p>
        </p:txBody>
      </p:sp>
      <p:sp>
        <p:nvSpPr>
          <p:cNvPr id="126" name="Google Shape;126;p35"/>
          <p:cNvSpPr txBox="1">
            <a:spLocks noGrp="1"/>
          </p:cNvSpPr>
          <p:nvPr>
            <p:ph type="body" idx="3"/>
          </p:nvPr>
        </p:nvSpPr>
        <p:spPr>
          <a:xfrm>
            <a:off x="390133" y="6121300"/>
            <a:ext cx="2777600" cy="5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●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○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■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●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○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■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lvl="6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●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lvl="7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○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lvl="8" indent="-37252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Roboto"/>
              <a:buChar char="■"/>
              <a:defRPr sz="1067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95638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 PAGE BLACK ">
  <p:cSld name="HALF PAGE BLACK 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0" y="0"/>
            <a:ext cx="5230800" cy="6858000"/>
          </a:xfrm>
          <a:prstGeom prst="rect">
            <a:avLst/>
          </a:prstGeom>
          <a:solidFill>
            <a:srgbClr val="243A5E"/>
          </a:solidFill>
          <a:ln>
            <a:noFill/>
          </a:ln>
        </p:spPr>
        <p:txBody>
          <a:bodyPr spcFirstLastPara="1" wrap="square" lIns="35700" tIns="35700" rIns="35700" bIns="3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Helvetica Neue"/>
              <a:buNone/>
            </a:pPr>
            <a:endParaRPr sz="1467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20946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A7B17"/>
          </p15:clr>
        </p15:guide>
        <p15:guide id="2" pos="2880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WHITE" type="tx">
  <p:cSld name="BLANK WHIT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8110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AA4F0-E789-4480-A786-8B7C74755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DD1AE-6407-4C6F-8C48-032B1EC3C8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A217E1-6B0D-4530-9D4C-829DBC665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4938F5-5009-4CFD-AC5E-AEB5BF76B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2EDA6-7F44-4997-9A96-5BE96AA9C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286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91B13-1558-4F08-A917-FB8059631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35BBA9-2207-4C6D-BE44-8FA5AB737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D10B0-B26A-44E1-BB84-D239142A4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FCAEB7-94B6-4083-A125-42F4917EC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8E5A4-ABFD-4C49-B27E-BD092DC9E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374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3742D-102E-4036-9AC7-763A67353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4B8CA-1D0E-492E-BD49-AD8D6E103C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4BB924-0EDB-4CEA-A8B8-C7F5AA51F2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0C93D8-43CD-450E-A6D4-6AB3F70EB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BF1949-ABB3-46C4-86E1-22DB77B2D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B92C89-9CB3-45E9-B491-F0AEA6BAA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627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44101-BACB-4C48-9B4D-0978E18D0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5FCA94-FEBD-4918-9DFB-B1744D2D19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E618AD-DD0B-4178-B1F1-E70470F678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ADF931-8548-4F3E-9442-2430D1A602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236517-E1BD-48E1-80D0-42D5D8F3E9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E2FC8D-50C1-4EBB-9160-8A8A2584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36F6E8-0E16-4677-8C8C-7E51998A4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2CA37A-B981-41A0-9E63-500643F6E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882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E0E90-C46A-4685-8F8B-1563119E6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D1551B-7B3A-4EB0-8562-6BA6B6087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EA390D-1E60-4BE1-BDE4-0306AF1D7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D68096-95C8-4BFC-936C-3328122C4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91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B9CFAE-322F-42F0-812C-7D31EBCDA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8E0DFC-B3E4-4168-9B5E-AE296A9E8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0C47D5-1BB3-478B-BAFE-BCF4C3FD3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844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080C6-7642-4E72-A583-C928F8CAC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E2FA85-2854-4232-9D0C-76610641FC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DA0680-3F31-4335-9A72-506BA7DEEA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6A0316-92CA-4ABB-9CE6-08CBF2C83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B77B07-10BF-4FBE-9536-86A6D3128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D4C3EE-11C4-4DB8-9A71-A46F2EA69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112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360E9-1C2A-456C-A5A1-95FF7BA3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B7670C-115B-40DF-AC07-18668CAED4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5AF0BE-007B-482B-9921-C2995897B5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A9417-993D-47F1-9FAE-8DEDEE7F5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48A6F7-8DA3-42A8-8E7F-C9040A83D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00049-9782-4C38-BB47-1D15DCB0E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967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80F58E-3FDF-411A-8314-624F6C29A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4003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80F58E-3FDF-411A-8314-624F6C29A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552094-770A-48CC-9BEA-B8405429F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F84E78-B567-4327-BB2E-02685B91E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AC68DF-17C1-4629-AACE-136BB3E56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13194-50C1-4D50-B8EC-B6B95C805753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662067-D95E-41D7-A954-95F7F8482A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A37739-3BED-444C-99D2-5A979DDDC4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B338E4-18EB-4657-B20F-AD34761FC5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367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technology/2013/dec/01/default-settings-change-phones-computer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ww.theguardian.com/technology/2013/dec/01/default-settings-change-phones-computers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21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/>
          <p:nvPr/>
        </p:nvSpPr>
        <p:spPr>
          <a:xfrm>
            <a:off x="844166" y="2923300"/>
            <a:ext cx="9955013" cy="24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367" tIns="50367" rIns="50367" bIns="50367" anchor="t" anchorCtr="0">
            <a:noAutofit/>
          </a:bodyPr>
          <a:lstStyle/>
          <a:p>
            <a:pPr>
              <a:buClr>
                <a:srgbClr val="000000"/>
              </a:buClr>
              <a:buSzPts val="4500"/>
            </a:pPr>
            <a:r>
              <a:rPr lang="en-US" sz="4800" b="1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</a:rPr>
              <a:t>Nick(s) and Friends</a:t>
            </a:r>
            <a:endParaRPr sz="4800" b="1">
              <a:solidFill>
                <a:srgbClr val="FFFFFF"/>
              </a:solidFill>
              <a:latin typeface="Spectral"/>
              <a:ea typeface="Spectral"/>
              <a:cs typeface="Spectral"/>
              <a:sym typeface="Spectral"/>
            </a:endParaRPr>
          </a:p>
          <a:p>
            <a:pPr>
              <a:buClr>
                <a:srgbClr val="000000"/>
              </a:buClr>
              <a:buSzPts val="4500"/>
            </a:pPr>
            <a:r>
              <a:rPr lang="en" sz="4800" b="1">
                <a:solidFill>
                  <a:srgbClr val="00B0F0"/>
                </a:solidFill>
                <a:latin typeface="Montserrat" panose="00000500000000000000" pitchFamily="2" charset="0"/>
                <a:ea typeface="Spectral"/>
                <a:cs typeface="Spectral"/>
                <a:sym typeface="Spectral"/>
              </a:rPr>
              <a:t>Microsoft Malware Prediction</a:t>
            </a:r>
            <a:endParaRPr sz="4800" b="1">
              <a:solidFill>
                <a:srgbClr val="00B0F0"/>
              </a:solidFill>
              <a:latin typeface="Montserrat" panose="00000500000000000000" pitchFamily="2" charset="0"/>
              <a:ea typeface="Spectral"/>
              <a:cs typeface="Spectral"/>
              <a:sym typeface="Spectral"/>
            </a:endParaRPr>
          </a:p>
        </p:txBody>
      </p:sp>
      <p:pic>
        <p:nvPicPr>
          <p:cNvPr id="46094" name="Picture 14" descr="Download Microsoft Logo Transparent HQ PNG Image | FreePNGImg">
            <a:extLst>
              <a:ext uri="{FF2B5EF4-FFF2-40B4-BE49-F238E27FC236}">
                <a16:creationId xmlns:a16="http://schemas.microsoft.com/office/drawing/2014/main" id="{0BDFC4B6-1A54-4C23-B3B4-CD9A1708B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607" y="5719763"/>
            <a:ext cx="3094393" cy="113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715853-5674-4300-938D-D4D79701FE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9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715853-5674-4300-938D-D4D79701F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rgbClr val="505050"/>
                </a:solidFill>
                <a:latin typeface="Spectral"/>
              </a:rPr>
              <a:t>Data Categori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9A517A1-6BD5-44CC-B9E0-8BB11965716C}"/>
              </a:ext>
            </a:extLst>
          </p:cNvPr>
          <p:cNvGrpSpPr/>
          <p:nvPr/>
        </p:nvGrpSpPr>
        <p:grpSpPr>
          <a:xfrm>
            <a:off x="452075" y="4166826"/>
            <a:ext cx="11288601" cy="2062103"/>
            <a:chOff x="461140" y="2509156"/>
            <a:chExt cx="11514960" cy="300769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929749D-AA86-46D9-90AE-17CB67ABFC4D}"/>
                </a:ext>
              </a:extLst>
            </p:cNvPr>
            <p:cNvSpPr/>
            <p:nvPr/>
          </p:nvSpPr>
          <p:spPr bwMode="auto">
            <a:xfrm>
              <a:off x="461140" y="2509156"/>
              <a:ext cx="3723152" cy="3007699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endParaRPr lang="en-US" sz="6600">
                <a:solidFill>
                  <a:schemeClr val="bg1"/>
                </a:solidFill>
                <a:latin typeface="Montserrat" panose="00000500000000000000" pitchFamily="2" charset="0"/>
                <a:cs typeface="Segoe UI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C4952D2-589A-40A5-AA13-7D04D8EDB774}"/>
                </a:ext>
              </a:extLst>
            </p:cNvPr>
            <p:cNvSpPr/>
            <p:nvPr/>
          </p:nvSpPr>
          <p:spPr bwMode="auto">
            <a:xfrm>
              <a:off x="4357044" y="2509156"/>
              <a:ext cx="3723152" cy="300574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endParaRPr lang="en-US">
                <a:solidFill>
                  <a:schemeClr val="bg1"/>
                </a:solidFill>
                <a:latin typeface="Montserrat" panose="00000500000000000000" pitchFamily="2" charset="0"/>
                <a:cs typeface="Segoe UI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BC50533-2DC5-477F-8955-B76A74C4A93A}"/>
                </a:ext>
              </a:extLst>
            </p:cNvPr>
            <p:cNvSpPr/>
            <p:nvPr/>
          </p:nvSpPr>
          <p:spPr bwMode="auto">
            <a:xfrm>
              <a:off x="8252948" y="2509156"/>
              <a:ext cx="3723152" cy="3007699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endParaRPr lang="en-US">
                <a:solidFill>
                  <a:schemeClr val="bg1"/>
                </a:solidFill>
                <a:latin typeface="Montserrat" panose="00000500000000000000" pitchFamily="2" charset="0"/>
                <a:cs typeface="Segoe UI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C3848BD-D91C-4DDB-BD21-97C67DCA643D}"/>
              </a:ext>
            </a:extLst>
          </p:cNvPr>
          <p:cNvSpPr txBox="1"/>
          <p:nvPr/>
        </p:nvSpPr>
        <p:spPr>
          <a:xfrm>
            <a:off x="448180" y="3093451"/>
            <a:ext cx="3649962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Hardwa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B72897-5A1E-4E30-A407-9EACEFE91A3B}"/>
              </a:ext>
            </a:extLst>
          </p:cNvPr>
          <p:cNvSpPr txBox="1"/>
          <p:nvPr/>
        </p:nvSpPr>
        <p:spPr>
          <a:xfrm>
            <a:off x="4271395" y="3108609"/>
            <a:ext cx="3649962" cy="885488"/>
          </a:xfrm>
          <a:prstGeom prst="rect">
            <a:avLst/>
          </a:prstGeom>
          <a:ln w="19050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3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Softwa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DBC192-3D79-4F87-999A-ED5E5BBEBA6A}"/>
              </a:ext>
            </a:extLst>
          </p:cNvPr>
          <p:cNvSpPr txBox="1"/>
          <p:nvPr/>
        </p:nvSpPr>
        <p:spPr>
          <a:xfrm>
            <a:off x="8088436" y="3108609"/>
            <a:ext cx="3649962" cy="885488"/>
          </a:xfrm>
          <a:prstGeom prst="rect">
            <a:avLst/>
          </a:prstGeom>
          <a:ln w="19050">
            <a:solidFill>
              <a:srgbClr val="50505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rgbClr val="505050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Settings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280B2C5-7624-48CF-8749-F4E3121AC2C2}"/>
              </a:ext>
            </a:extLst>
          </p:cNvPr>
          <p:cNvSpPr txBox="1">
            <a:spLocks/>
          </p:cNvSpPr>
          <p:nvPr/>
        </p:nvSpPr>
        <p:spPr>
          <a:xfrm>
            <a:off x="448211" y="1151861"/>
            <a:ext cx="11292463" cy="935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505050"/>
                </a:solidFill>
                <a:latin typeface="Spectral"/>
              </a:rPr>
              <a:t>Data set contains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82 columns</a:t>
            </a:r>
            <a:r>
              <a:rPr lang="en-US" sz="2400">
                <a:solidFill>
                  <a:srgbClr val="505050"/>
                </a:solidFill>
                <a:latin typeface="Spectral"/>
              </a:rPr>
              <a:t>, which can conceptually be grouped into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three broad categories: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A57891-0C90-4A6E-8B3D-7FDEA694B60D}"/>
              </a:ext>
            </a:extLst>
          </p:cNvPr>
          <p:cNvSpPr txBox="1"/>
          <p:nvPr/>
        </p:nvSpPr>
        <p:spPr>
          <a:xfrm>
            <a:off x="448180" y="4350280"/>
            <a:ext cx="3649962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Examples</a:t>
            </a:r>
            <a:r>
              <a:rPr lang="en-US" sz="140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Processo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Census_MDC2FormFacto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i="0" err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Census_OEMNameIdentifier</a:t>
            </a:r>
            <a:endParaRPr lang="en-US" sz="1400" b="0" i="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i="0" err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Census_ProcessorCoreCount</a:t>
            </a:r>
            <a:endParaRPr lang="en-US" sz="1400" b="0" i="0">
              <a:solidFill>
                <a:schemeClr val="bg1"/>
              </a:solidFill>
              <a:effectLst/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0" i="0" err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Census_PrimaryDiskTotalCapacity</a:t>
            </a:r>
            <a:endParaRPr lang="en-US" sz="1400">
              <a:solidFill>
                <a:schemeClr val="bg1"/>
              </a:solidFill>
              <a:effectLst/>
              <a:latin typeface="Montserrat" panose="000005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C61E96-CAAB-4A05-9830-A8A0968CFF71}"/>
              </a:ext>
            </a:extLst>
          </p:cNvPr>
          <p:cNvSpPr txBox="1"/>
          <p:nvPr/>
        </p:nvSpPr>
        <p:spPr>
          <a:xfrm>
            <a:off x="4267498" y="4350280"/>
            <a:ext cx="3649962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>
                <a:solidFill>
                  <a:schemeClr val="bg1"/>
                </a:solidFill>
                <a:latin typeface="Montserrat" panose="00000500000000000000" pitchFamily="2" charset="0"/>
              </a:rPr>
              <a:t>Examples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AppVersion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IsBeta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OsVer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OsPlatformSubRelease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SkuEdition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DF6129-C212-4D7D-AF38-5E370737F8D4}"/>
              </a:ext>
            </a:extLst>
          </p:cNvPr>
          <p:cNvSpPr txBox="1"/>
          <p:nvPr/>
        </p:nvSpPr>
        <p:spPr>
          <a:xfrm>
            <a:off x="8082920" y="4350280"/>
            <a:ext cx="364996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Examples</a:t>
            </a:r>
            <a:r>
              <a:rPr lang="en-US" sz="140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SmartScree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Montserrat" panose="00000500000000000000" pitchFamily="2" charset="0"/>
              </a:rPr>
              <a:t>Firewal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AVProductStatesIdentifier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SMode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Montserrat" panose="00000500000000000000" pitchFamily="2" charset="0"/>
              </a:rPr>
              <a:t>UacLuaenable</a:t>
            </a:r>
            <a:endParaRPr lang="en-US" sz="140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solidFill>
                <a:schemeClr val="bg1"/>
              </a:solidFill>
              <a:effectLst/>
              <a:latin typeface="Montserrat" panose="00000500000000000000" pitchFamily="2" charset="0"/>
            </a:endParaRPr>
          </a:p>
        </p:txBody>
      </p:sp>
      <p:pic>
        <p:nvPicPr>
          <p:cNvPr id="23" name="Graphic 22" descr="Cmd Terminal with solid fill">
            <a:extLst>
              <a:ext uri="{FF2B5EF4-FFF2-40B4-BE49-F238E27FC236}">
                <a16:creationId xmlns:a16="http://schemas.microsoft.com/office/drawing/2014/main" id="{C603FE93-8922-4468-A399-01FF5E57D0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1383" y="2179051"/>
            <a:ext cx="914400" cy="914400"/>
          </a:xfrm>
          <a:prstGeom prst="rect">
            <a:avLst/>
          </a:prstGeom>
        </p:spPr>
      </p:pic>
      <p:pic>
        <p:nvPicPr>
          <p:cNvPr id="33" name="Graphic 32" descr="Computer with solid fill">
            <a:extLst>
              <a:ext uri="{FF2B5EF4-FFF2-40B4-BE49-F238E27FC236}">
                <a16:creationId xmlns:a16="http://schemas.microsoft.com/office/drawing/2014/main" id="{89A7ABF0-3E0F-48BC-9FF4-B56FDBF4F1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15961" y="2179051"/>
            <a:ext cx="914400" cy="914400"/>
          </a:xfrm>
          <a:prstGeom prst="rect">
            <a:avLst/>
          </a:prstGeom>
        </p:spPr>
      </p:pic>
      <p:pic>
        <p:nvPicPr>
          <p:cNvPr id="35" name="Graphic 34" descr="Settings with solid fill">
            <a:extLst>
              <a:ext uri="{FF2B5EF4-FFF2-40B4-BE49-F238E27FC236}">
                <a16:creationId xmlns:a16="http://schemas.microsoft.com/office/drawing/2014/main" id="{9C5531BB-7AC7-414B-B2BA-2E0FA8F2C9D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50701" y="217905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087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1"/>
          <p:cNvSpPr txBox="1"/>
          <p:nvPr/>
        </p:nvSpPr>
        <p:spPr>
          <a:xfrm>
            <a:off x="794300" y="1191400"/>
            <a:ext cx="3342000" cy="447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2400" b="1" kern="0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</a:rPr>
              <a:t>After building our model, we noticed a key theme among the importance of variables: configurations, settings, and versions.</a:t>
            </a:r>
          </a:p>
          <a:p>
            <a:pPr defTabSz="1219170">
              <a:buClr>
                <a:srgbClr val="000000"/>
              </a:buClr>
            </a:pPr>
            <a:endParaRPr lang="en" sz="2400" b="1" kern="0">
              <a:solidFill>
                <a:srgbClr val="FFFFFF"/>
              </a:solidFill>
              <a:latin typeface="Spectral"/>
              <a:ea typeface="Spectral"/>
              <a:cs typeface="Spectral"/>
              <a:sym typeface="Spectral"/>
            </a:endParaRPr>
          </a:p>
          <a:p>
            <a:pPr defTabSz="1219170">
              <a:buClr>
                <a:srgbClr val="000000"/>
              </a:buClr>
            </a:pPr>
            <a:r>
              <a:rPr lang="en" sz="2400" b="1" kern="0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</a:rPr>
              <a:t>Why is this important? </a:t>
            </a:r>
            <a:r>
              <a:rPr lang="en" sz="2400" b="1" kern="0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  <a:hlinkClick r:id="rId3"/>
              </a:rPr>
              <a:t>95% of people</a:t>
            </a:r>
            <a:r>
              <a:rPr lang="en" sz="2400" b="1" kern="0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</a:rPr>
              <a:t> don’t change their settings, so if their computer isn’t safe to begin with, they are susceptible to malware. </a:t>
            </a:r>
            <a:endParaRPr lang="en" sz="2400" b="1" kern="0">
              <a:solidFill>
                <a:srgbClr val="FFFFFF"/>
              </a:solidFill>
              <a:latin typeface="Spectral"/>
              <a:ea typeface="Spectral"/>
              <a:cs typeface="Spectral"/>
            </a:endParaRPr>
          </a:p>
        </p:txBody>
      </p:sp>
      <p:pic>
        <p:nvPicPr>
          <p:cNvPr id="17" name="Picture 4" descr="image">
            <a:extLst>
              <a:ext uri="{FF2B5EF4-FFF2-40B4-BE49-F238E27FC236}">
                <a16:creationId xmlns:a16="http://schemas.microsoft.com/office/drawing/2014/main" id="{8062C0E8-1B15-488A-A2DA-2A4FFC771D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8" b="5654"/>
          <a:stretch/>
        </p:blipFill>
        <p:spPr bwMode="auto">
          <a:xfrm>
            <a:off x="6852210" y="193876"/>
            <a:ext cx="3957475" cy="6470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BFB8569-6BE8-4C3B-BCC2-DEBBD4008534}"/>
              </a:ext>
            </a:extLst>
          </p:cNvPr>
          <p:cNvSpPr/>
          <p:nvPr/>
        </p:nvSpPr>
        <p:spPr>
          <a:xfrm>
            <a:off x="6852210" y="416689"/>
            <a:ext cx="3217762" cy="239595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715853-5674-4300-938D-D4D79701FE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715853-5674-4300-938D-D4D79701F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rgbClr val="505050"/>
                </a:solidFill>
                <a:latin typeface="Spectral"/>
              </a:rPr>
              <a:t>Industry Research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9A517A1-6BD5-44CC-B9E0-8BB11965716C}"/>
              </a:ext>
            </a:extLst>
          </p:cNvPr>
          <p:cNvGrpSpPr/>
          <p:nvPr/>
        </p:nvGrpSpPr>
        <p:grpSpPr>
          <a:xfrm>
            <a:off x="452075" y="3454134"/>
            <a:ext cx="11288601" cy="2956823"/>
            <a:chOff x="461140" y="2509156"/>
            <a:chExt cx="11514960" cy="300769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929749D-AA86-46D9-90AE-17CB67ABFC4D}"/>
                </a:ext>
              </a:extLst>
            </p:cNvPr>
            <p:cNvSpPr/>
            <p:nvPr/>
          </p:nvSpPr>
          <p:spPr bwMode="auto">
            <a:xfrm>
              <a:off x="461140" y="2509156"/>
              <a:ext cx="3723152" cy="3007699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endParaRPr lang="en-US" sz="6600">
                <a:solidFill>
                  <a:schemeClr val="bg1"/>
                </a:solidFill>
                <a:latin typeface="Montserrat" panose="00000500000000000000" pitchFamily="2" charset="0"/>
                <a:cs typeface="Segoe UI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C4952D2-589A-40A5-AA13-7D04D8EDB774}"/>
                </a:ext>
              </a:extLst>
            </p:cNvPr>
            <p:cNvSpPr/>
            <p:nvPr/>
          </p:nvSpPr>
          <p:spPr bwMode="auto">
            <a:xfrm>
              <a:off x="4357044" y="2509156"/>
              <a:ext cx="3723152" cy="300574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Even if you have other security software installed, SmartScreen can</a:t>
              </a:r>
              <a:r>
                <a:rPr lang="en-US" b="1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 protect </a:t>
              </a:r>
              <a:r>
                <a:rPr lang="en-US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you from something your main security program might miss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BC50533-2DC5-477F-8955-B76A74C4A93A}"/>
                </a:ext>
              </a:extLst>
            </p:cNvPr>
            <p:cNvSpPr/>
            <p:nvPr/>
          </p:nvSpPr>
          <p:spPr bwMode="auto">
            <a:xfrm>
              <a:off x="8252948" y="2509156"/>
              <a:ext cx="3723152" cy="3007699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95% of users </a:t>
              </a:r>
              <a:r>
                <a:rPr lang="en-US" b="1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do not change anything </a:t>
              </a:r>
              <a:r>
                <a:rPr lang="en-US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when it comes to settings, even more specifically downloading protection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C3848BD-D91C-4DDB-BD21-97C67DCA643D}"/>
              </a:ext>
            </a:extLst>
          </p:cNvPr>
          <p:cNvSpPr txBox="1"/>
          <p:nvPr/>
        </p:nvSpPr>
        <p:spPr>
          <a:xfrm>
            <a:off x="448180" y="2332784"/>
            <a:ext cx="3649962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Default Setting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B72897-5A1E-4E30-A407-9EACEFE91A3B}"/>
              </a:ext>
            </a:extLst>
          </p:cNvPr>
          <p:cNvSpPr txBox="1"/>
          <p:nvPr/>
        </p:nvSpPr>
        <p:spPr>
          <a:xfrm>
            <a:off x="4271395" y="2347942"/>
            <a:ext cx="3649962" cy="885488"/>
          </a:xfrm>
          <a:prstGeom prst="rect">
            <a:avLst/>
          </a:prstGeom>
          <a:ln w="19050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3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SmartScre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DBC192-3D79-4F87-999A-ED5E5BBEBA6A}"/>
              </a:ext>
            </a:extLst>
          </p:cNvPr>
          <p:cNvSpPr txBox="1"/>
          <p:nvPr/>
        </p:nvSpPr>
        <p:spPr>
          <a:xfrm>
            <a:off x="8088436" y="2347942"/>
            <a:ext cx="3649962" cy="885488"/>
          </a:xfrm>
          <a:prstGeom prst="rect">
            <a:avLst/>
          </a:prstGeom>
          <a:ln w="19050">
            <a:solidFill>
              <a:srgbClr val="50505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rgbClr val="505050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User Initiative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280B2C5-7624-48CF-8749-F4E3121AC2C2}"/>
              </a:ext>
            </a:extLst>
          </p:cNvPr>
          <p:cNvSpPr txBox="1">
            <a:spLocks/>
          </p:cNvSpPr>
          <p:nvPr/>
        </p:nvSpPr>
        <p:spPr>
          <a:xfrm>
            <a:off x="448211" y="1151861"/>
            <a:ext cx="11292463" cy="935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505050"/>
                </a:solidFill>
                <a:latin typeface="Spectral"/>
              </a:rPr>
              <a:t>Overall,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default</a:t>
            </a:r>
            <a:r>
              <a:rPr lang="en-US" sz="2400">
                <a:solidFill>
                  <a:srgbClr val="505050"/>
                </a:solidFill>
                <a:latin typeface="Spectral"/>
              </a:rPr>
              <a:t> configurations can sometimes leave systems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less secure </a:t>
            </a:r>
            <a:r>
              <a:rPr lang="en-US" sz="2400">
                <a:solidFill>
                  <a:srgbClr val="505050"/>
                </a:solidFill>
                <a:latin typeface="Spectral"/>
              </a:rPr>
              <a:t>than if they were to be covered by additional system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40A970-BA99-4B84-B9B4-51B60213E776}"/>
              </a:ext>
            </a:extLst>
          </p:cNvPr>
          <p:cNvSpPr txBox="1"/>
          <p:nvPr/>
        </p:nvSpPr>
        <p:spPr>
          <a:xfrm>
            <a:off x="706441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ScienceDirec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04186B-6D52-44B1-AF95-39949215D2F1}"/>
              </a:ext>
            </a:extLst>
          </p:cNvPr>
          <p:cNvSpPr txBox="1"/>
          <p:nvPr/>
        </p:nvSpPr>
        <p:spPr>
          <a:xfrm>
            <a:off x="4525758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</a:t>
            </a:r>
            <a:r>
              <a:rPr lang="en-US" sz="1000" err="1">
                <a:solidFill>
                  <a:schemeClr val="bg1"/>
                </a:solidFill>
              </a:rPr>
              <a:t>HowToGeek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D17411-20C1-47C0-A39E-A86208CE3F12}"/>
              </a:ext>
            </a:extLst>
          </p:cNvPr>
          <p:cNvSpPr txBox="1"/>
          <p:nvPr/>
        </p:nvSpPr>
        <p:spPr>
          <a:xfrm>
            <a:off x="8344326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</a:t>
            </a:r>
            <a:r>
              <a:rPr lang="en-US" sz="1000">
                <a:solidFill>
                  <a:schemeClr val="bg1"/>
                </a:solidFill>
                <a:latin typeface="Spectral"/>
                <a:hlinkClick r:id="rId7"/>
              </a:rPr>
              <a:t>The Guardian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A57891-0C90-4A6E-8B3D-7FDEA694B60D}"/>
              </a:ext>
            </a:extLst>
          </p:cNvPr>
          <p:cNvSpPr txBox="1"/>
          <p:nvPr/>
        </p:nvSpPr>
        <p:spPr>
          <a:xfrm>
            <a:off x="883578" y="4046613"/>
            <a:ext cx="296409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Default</a:t>
            </a:r>
            <a:r>
              <a:rPr lang="en-US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 configurations can sometimes leave systems </a:t>
            </a:r>
            <a:r>
              <a:rPr lang="en-US" b="1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less secure </a:t>
            </a:r>
            <a:r>
              <a:rPr lang="en-US">
                <a:solidFill>
                  <a:schemeClr val="bg1"/>
                </a:solidFill>
                <a:effectLst/>
                <a:latin typeface="Montserrat" panose="00000500000000000000" pitchFamily="2" charset="0"/>
              </a:rPr>
              <a:t>than recommended</a:t>
            </a:r>
          </a:p>
        </p:txBody>
      </p:sp>
    </p:spTree>
    <p:extLst>
      <p:ext uri="{BB962C8B-B14F-4D97-AF65-F5344CB8AC3E}">
        <p14:creationId xmlns:p14="http://schemas.microsoft.com/office/powerpoint/2010/main" val="174029750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84B018-6B3E-4934-A2DF-9012A11FC5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84B018-6B3E-4934-A2DF-9012A11FC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264;p54">
            <a:extLst>
              <a:ext uri="{FF2B5EF4-FFF2-40B4-BE49-F238E27FC236}">
                <a16:creationId xmlns:a16="http://schemas.microsoft.com/office/drawing/2014/main" id="{4D4446E2-4161-4105-ADB8-B3BF96875207}"/>
              </a:ext>
            </a:extLst>
          </p:cNvPr>
          <p:cNvSpPr/>
          <p:nvPr/>
        </p:nvSpPr>
        <p:spPr>
          <a:xfrm>
            <a:off x="3950499" y="1373842"/>
            <a:ext cx="7698800" cy="411630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00025" dist="38100" dir="5400000" algn="bl" rotWithShape="0">
              <a:srgbClr val="000000">
                <a:alpha val="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 b="1">
              <a:latin typeface="Spectral"/>
            </a:endParaRPr>
          </a:p>
        </p:txBody>
      </p:sp>
      <p:sp>
        <p:nvSpPr>
          <p:cNvPr id="16" name="Google Shape;267;p54">
            <a:extLst>
              <a:ext uri="{FF2B5EF4-FFF2-40B4-BE49-F238E27FC236}">
                <a16:creationId xmlns:a16="http://schemas.microsoft.com/office/drawing/2014/main" id="{E483F41A-A317-4C3D-A597-033C0C1353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8566" y="2350343"/>
            <a:ext cx="2777600" cy="215132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>
                <a:latin typeface="Spectral"/>
              </a:rPr>
              <a:t>SmartScreen</a:t>
            </a:r>
            <a:br>
              <a:rPr lang="en" b="0">
                <a:latin typeface="Spectral"/>
              </a:rPr>
            </a:br>
            <a:br>
              <a:rPr lang="en" b="0">
                <a:latin typeface="Spectral"/>
              </a:rPr>
            </a:br>
            <a:r>
              <a:rPr lang="en-US" sz="2000" b="0">
                <a:latin typeface="Spectral"/>
              </a:rPr>
              <a:t>Enabling any feature of SmartScreen (such as Warn, On, etc.) reduces detections</a:t>
            </a:r>
            <a:endParaRPr>
              <a:latin typeface="Spectr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AC3A67-1811-4B03-B06A-D3D2C8BD1A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5542" y="1367854"/>
            <a:ext cx="7543757" cy="411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015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84B018-6B3E-4934-A2DF-9012A11FC5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81969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84B018-6B3E-4934-A2DF-9012A11FC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264;p54">
            <a:extLst>
              <a:ext uri="{FF2B5EF4-FFF2-40B4-BE49-F238E27FC236}">
                <a16:creationId xmlns:a16="http://schemas.microsoft.com/office/drawing/2014/main" id="{4D4446E2-4161-4105-ADB8-B3BF96875207}"/>
              </a:ext>
            </a:extLst>
          </p:cNvPr>
          <p:cNvSpPr/>
          <p:nvPr/>
        </p:nvSpPr>
        <p:spPr>
          <a:xfrm>
            <a:off x="3950499" y="1373842"/>
            <a:ext cx="7698800" cy="411630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00025" dist="38100" dir="5400000" algn="bl" rotWithShape="0">
              <a:srgbClr val="000000">
                <a:alpha val="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 b="1">
              <a:latin typeface="Spectral"/>
            </a:endParaRPr>
          </a:p>
        </p:txBody>
      </p:sp>
      <p:sp>
        <p:nvSpPr>
          <p:cNvPr id="16" name="Google Shape;267;p54">
            <a:extLst>
              <a:ext uri="{FF2B5EF4-FFF2-40B4-BE49-F238E27FC236}">
                <a16:creationId xmlns:a16="http://schemas.microsoft.com/office/drawing/2014/main" id="{E483F41A-A317-4C3D-A597-033C0C1353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8566" y="2103210"/>
            <a:ext cx="2777600" cy="264207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>
                <a:latin typeface="Spectral"/>
              </a:rPr>
              <a:t>Defender Configuration</a:t>
            </a:r>
            <a:br>
              <a:rPr lang="en" b="0">
                <a:latin typeface="Spectral"/>
              </a:rPr>
            </a:br>
            <a:br>
              <a:rPr lang="en" b="0">
                <a:latin typeface="Spectral"/>
              </a:rPr>
            </a:br>
            <a:r>
              <a:rPr lang="en-US" sz="2000" b="0">
                <a:latin typeface="Spectral"/>
              </a:rPr>
              <a:t>Certain configurations leave computers more susceptible to detections</a:t>
            </a:r>
            <a:endParaRPr>
              <a:latin typeface="Spectr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88FF10-1051-4518-BEFD-D5E1418B53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1245" y="1367854"/>
            <a:ext cx="7537308" cy="411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9224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84B018-6B3E-4934-A2DF-9012A11FC5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84B018-6B3E-4934-A2DF-9012A11FC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264;p54">
            <a:extLst>
              <a:ext uri="{FF2B5EF4-FFF2-40B4-BE49-F238E27FC236}">
                <a16:creationId xmlns:a16="http://schemas.microsoft.com/office/drawing/2014/main" id="{4D4446E2-4161-4105-ADB8-B3BF96875207}"/>
              </a:ext>
            </a:extLst>
          </p:cNvPr>
          <p:cNvSpPr/>
          <p:nvPr/>
        </p:nvSpPr>
        <p:spPr>
          <a:xfrm>
            <a:off x="3950499" y="1373842"/>
            <a:ext cx="7698800" cy="411630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00025" dist="38100" dir="5400000" algn="bl" rotWithShape="0">
              <a:srgbClr val="000000">
                <a:alpha val="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 b="1">
              <a:latin typeface="Spectral"/>
            </a:endParaRPr>
          </a:p>
        </p:txBody>
      </p:sp>
      <p:sp>
        <p:nvSpPr>
          <p:cNvPr id="16" name="Google Shape;267;p54">
            <a:extLst>
              <a:ext uri="{FF2B5EF4-FFF2-40B4-BE49-F238E27FC236}">
                <a16:creationId xmlns:a16="http://schemas.microsoft.com/office/drawing/2014/main" id="{E483F41A-A317-4C3D-A597-033C0C1353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8566" y="1696311"/>
            <a:ext cx="2777600" cy="345939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>
                <a:latin typeface="Spectral"/>
              </a:rPr>
              <a:t>AvSigVersion (Antivirus Signature Version)</a:t>
            </a:r>
            <a:br>
              <a:rPr lang="en" b="0">
                <a:latin typeface="Spectral"/>
              </a:rPr>
            </a:br>
            <a:br>
              <a:rPr lang="en" b="0">
                <a:latin typeface="Spectral"/>
              </a:rPr>
            </a:br>
            <a:r>
              <a:rPr lang="en-US" sz="2000" b="0">
                <a:latin typeface="Spectral"/>
              </a:rPr>
              <a:t>Different versions leave computers more susceptible to detections</a:t>
            </a:r>
            <a:endParaRPr>
              <a:latin typeface="Spectr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DDAB52-0E62-49E1-9FD3-6A6DCCFE4F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8020" y="1367854"/>
            <a:ext cx="7543758" cy="411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49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470BB0-45B3-41DB-BCA4-2F2D64BB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470BB0-45B3-41DB-BCA4-2F2D64BB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3036301"/>
            <a:ext cx="9144000" cy="495520"/>
          </a:xfrm>
        </p:spPr>
        <p:txBody>
          <a:bodyPr vert="horz"/>
          <a:lstStyle/>
          <a:p>
            <a:r>
              <a:rPr lang="en-US" sz="3578" b="1">
                <a:latin typeface="Montserrat" panose="00000500000000000000" pitchFamily="2" charset="0"/>
                <a:cs typeface="Segoe UI Semibold" panose="020B0702040204020203" pitchFamily="34" charset="0"/>
              </a:rPr>
              <a:t>Modeling process and performance</a:t>
            </a:r>
          </a:p>
        </p:txBody>
      </p:sp>
    </p:spTree>
    <p:extLst>
      <p:ext uri="{BB962C8B-B14F-4D97-AF65-F5344CB8AC3E}">
        <p14:creationId xmlns:p14="http://schemas.microsoft.com/office/powerpoint/2010/main" val="1250594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33"/>
          <p:cNvSpPr txBox="1"/>
          <p:nvPr/>
        </p:nvSpPr>
        <p:spPr>
          <a:xfrm>
            <a:off x="574299" y="387400"/>
            <a:ext cx="11086870" cy="77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2800" b="1">
                <a:solidFill>
                  <a:schemeClr val="dk1"/>
                </a:solidFill>
                <a:latin typeface="Spectral"/>
                <a:ea typeface="Spectral"/>
                <a:cs typeface="Spectral"/>
                <a:sym typeface="Spectral"/>
              </a:rPr>
              <a:t>Cleaning Process</a:t>
            </a:r>
            <a:endParaRPr sz="2800" b="1">
              <a:latin typeface="Spectral"/>
              <a:ea typeface="Spectral"/>
              <a:cs typeface="Spectral"/>
              <a:sym typeface="Spectral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083808D-4608-5942-8802-93260A2224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3335823"/>
              </p:ext>
            </p:extLst>
          </p:nvPr>
        </p:nvGraphicFramePr>
        <p:xfrm>
          <a:off x="408689" y="1162200"/>
          <a:ext cx="5229224" cy="5308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Google Shape;267;p54">
            <a:extLst>
              <a:ext uri="{FF2B5EF4-FFF2-40B4-BE49-F238E27FC236}">
                <a16:creationId xmlns:a16="http://schemas.microsoft.com/office/drawing/2014/main" id="{8B9BD1F5-3D8A-2E45-8092-F4C82A8D8223}"/>
              </a:ext>
            </a:extLst>
          </p:cNvPr>
          <p:cNvSpPr txBox="1">
            <a:spLocks/>
          </p:cNvSpPr>
          <p:nvPr/>
        </p:nvSpPr>
        <p:spPr>
          <a:xfrm>
            <a:off x="6282153" y="4047004"/>
            <a:ext cx="5624773" cy="2423596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 b="1">
                <a:latin typeface="Spectral"/>
              </a:rPr>
              <a:t>Example – SmartScreen</a:t>
            </a:r>
          </a:p>
          <a:p>
            <a:pPr algn="ctr"/>
            <a:endParaRPr lang="en-US" sz="1700">
              <a:latin typeface="Spectral"/>
            </a:endParaRPr>
          </a:p>
          <a:p>
            <a:r>
              <a:rPr lang="en-US" sz="1500" b="1">
                <a:latin typeface="Spectral"/>
              </a:rPr>
              <a:t>1. Exploratory Data Analysis</a:t>
            </a:r>
            <a:r>
              <a:rPr lang="en-US" sz="1500">
                <a:latin typeface="Spectral"/>
              </a:rPr>
              <a:t>: Categorical variable that captures user’s SmartScreen settings</a:t>
            </a:r>
          </a:p>
          <a:p>
            <a:endParaRPr lang="en-US" sz="1500">
              <a:latin typeface="Spectral"/>
            </a:endParaRPr>
          </a:p>
          <a:p>
            <a:r>
              <a:rPr lang="en-US" sz="1500" b="1">
                <a:latin typeface="Spectral"/>
              </a:rPr>
              <a:t>2. Drop/Rename/Merge: </a:t>
            </a:r>
            <a:r>
              <a:rPr lang="en-US" sz="1500">
                <a:latin typeface="Spectral"/>
              </a:rPr>
              <a:t>Merged “Off”, “OFF”, and “off” labels</a:t>
            </a:r>
          </a:p>
          <a:p>
            <a:endParaRPr lang="en-US" sz="1500">
              <a:latin typeface="Spectral"/>
            </a:endParaRPr>
          </a:p>
          <a:p>
            <a:r>
              <a:rPr lang="en-US" sz="1500" b="1">
                <a:latin typeface="Spectral"/>
              </a:rPr>
              <a:t>3. Imputation</a:t>
            </a:r>
            <a:r>
              <a:rPr lang="en-US" sz="1500">
                <a:latin typeface="Spectral"/>
              </a:rPr>
              <a:t>: Combined all </a:t>
            </a:r>
            <a:r>
              <a:rPr lang="en-US" sz="1500" err="1">
                <a:latin typeface="Spectral"/>
              </a:rPr>
              <a:t>np.na’s</a:t>
            </a:r>
            <a:r>
              <a:rPr lang="en-US" sz="1500">
                <a:latin typeface="Spectral"/>
              </a:rPr>
              <a:t> into “OTHER” label</a:t>
            </a:r>
          </a:p>
          <a:p>
            <a:endParaRPr lang="en-US" sz="1500">
              <a:latin typeface="Spectral"/>
            </a:endParaRPr>
          </a:p>
          <a:p>
            <a:r>
              <a:rPr lang="en-US" sz="1500" b="1">
                <a:latin typeface="Spectral"/>
              </a:rPr>
              <a:t>4. Scaling/Encoding</a:t>
            </a:r>
            <a:r>
              <a:rPr lang="en-US" sz="1500">
                <a:latin typeface="Spectral"/>
              </a:rPr>
              <a:t>: Transformed each label into a number (not pictured here in order to visualize original cat. label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" err="1">
                <a:latin typeface="Spectral"/>
              </a:rPr>
              <a:t>dasd</a:t>
            </a:r>
            <a:endParaRPr lang="en-US" sz="100">
              <a:latin typeface="Spectr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" err="1">
                <a:latin typeface="Spectral"/>
              </a:rPr>
              <a:t>dasdf</a:t>
            </a:r>
            <a:endParaRPr lang="en-US" sz="100">
              <a:latin typeface="Spectral"/>
            </a:endParaRPr>
          </a:p>
          <a:p>
            <a:pPr marL="800100" lvl="1" indent="-342900">
              <a:buAutoNum type="arabicPeriod"/>
            </a:pPr>
            <a:endParaRPr lang="en-US" sz="100">
              <a:latin typeface="Spectr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AE22A9-AFBF-3845-AD32-05F85D10DE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2153" y="824219"/>
            <a:ext cx="5335548" cy="3176042"/>
          </a:xfrm>
          <a:prstGeom prst="rect">
            <a:avLst/>
          </a:prstGeom>
        </p:spPr>
      </p:pic>
      <p:sp>
        <p:nvSpPr>
          <p:cNvPr id="3" name="Right Brace 2">
            <a:extLst>
              <a:ext uri="{FF2B5EF4-FFF2-40B4-BE49-F238E27FC236}">
                <a16:creationId xmlns:a16="http://schemas.microsoft.com/office/drawing/2014/main" id="{4A13EAB8-A7B1-4649-8171-E342E66DA62E}"/>
              </a:ext>
            </a:extLst>
          </p:cNvPr>
          <p:cNvSpPr/>
          <p:nvPr/>
        </p:nvSpPr>
        <p:spPr>
          <a:xfrm>
            <a:off x="5752214" y="1325301"/>
            <a:ext cx="301345" cy="4971328"/>
          </a:xfrm>
          <a:prstGeom prst="rightBrace">
            <a:avLst/>
          </a:prstGeom>
          <a:noFill/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79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715853-5674-4300-938D-D4D79701FE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715853-5674-4300-938D-D4D79701F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rgbClr val="505050"/>
                </a:solidFill>
                <a:latin typeface="Spectral"/>
              </a:rPr>
              <a:t>Model Performan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40A970-BA99-4B84-B9B4-51B60213E776}"/>
              </a:ext>
            </a:extLst>
          </p:cNvPr>
          <p:cNvSpPr txBox="1"/>
          <p:nvPr/>
        </p:nvSpPr>
        <p:spPr>
          <a:xfrm>
            <a:off x="706441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ScienceDirec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EAB6C0-9A3C-4944-8344-AF3C721FF1D4}"/>
              </a:ext>
            </a:extLst>
          </p:cNvPr>
          <p:cNvGrpSpPr/>
          <p:nvPr/>
        </p:nvGrpSpPr>
        <p:grpSpPr>
          <a:xfrm>
            <a:off x="2359412" y="1743530"/>
            <a:ext cx="7473177" cy="4081158"/>
            <a:chOff x="2357464" y="1578827"/>
            <a:chExt cx="7473177" cy="408115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9A517A1-6BD5-44CC-B9E0-8BB11965716C}"/>
                </a:ext>
              </a:extLst>
            </p:cNvPr>
            <p:cNvGrpSpPr/>
            <p:nvPr/>
          </p:nvGrpSpPr>
          <p:grpSpPr>
            <a:xfrm>
              <a:off x="2361359" y="2703162"/>
              <a:ext cx="7469282" cy="2956823"/>
              <a:chOff x="461140" y="2509156"/>
              <a:chExt cx="7619056" cy="3007699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929749D-AA86-46D9-90AE-17CB67ABFC4D}"/>
                  </a:ext>
                </a:extLst>
              </p:cNvPr>
              <p:cNvSpPr/>
              <p:nvPr/>
            </p:nvSpPr>
            <p:spPr bwMode="auto">
              <a:xfrm>
                <a:off x="461140" y="2509156"/>
                <a:ext cx="3723152" cy="300769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980"/>
                  </a:spcBef>
                </a:pPr>
                <a:endParaRPr lang="en-US" sz="6600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C4952D2-589A-40A5-AA13-7D04D8EDB774}"/>
                  </a:ext>
                </a:extLst>
              </p:cNvPr>
              <p:cNvSpPr/>
              <p:nvPr/>
            </p:nvSpPr>
            <p:spPr bwMode="auto">
              <a:xfrm>
                <a:off x="4357044" y="2509156"/>
                <a:ext cx="3723152" cy="300574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980"/>
                  </a:spcBef>
                </a:pPr>
                <a:r>
                  <a:rPr lang="en-US">
                    <a:solidFill>
                      <a:schemeClr val="bg1"/>
                    </a:solidFill>
                    <a:latin typeface="Montserrat"/>
                    <a:cs typeface="Segoe UI"/>
                  </a:rPr>
                  <a:t>Model </a:t>
                </a:r>
                <a:r>
                  <a:rPr lang="en-US" b="1">
                    <a:solidFill>
                      <a:schemeClr val="bg1"/>
                    </a:solidFill>
                    <a:latin typeface="Montserrat"/>
                    <a:cs typeface="Segoe UI"/>
                  </a:rPr>
                  <a:t>does not </a:t>
                </a:r>
                <a:r>
                  <a:rPr lang="en-US">
                    <a:solidFill>
                      <a:schemeClr val="bg1"/>
                    </a:solidFill>
                    <a:latin typeface="Montserrat"/>
                    <a:cs typeface="Segoe UI"/>
                  </a:rPr>
                  <a:t>have strong predictive power, but highlights key variables for prediction</a:t>
                </a:r>
              </a:p>
              <a:p>
                <a:pPr algn="ctr">
                  <a:spcBef>
                    <a:spcPts val="980"/>
                  </a:spcBef>
                </a:pPr>
                <a:endParaRPr lang="en-US">
                  <a:solidFill>
                    <a:schemeClr val="bg1"/>
                  </a:solidFill>
                  <a:latin typeface="Montserrat"/>
                  <a:cs typeface="Segoe UI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C3848BD-D91C-4DDB-BD21-97C67DCA643D}"/>
                </a:ext>
              </a:extLst>
            </p:cNvPr>
            <p:cNvSpPr txBox="1"/>
            <p:nvPr/>
          </p:nvSpPr>
          <p:spPr>
            <a:xfrm>
              <a:off x="2357464" y="1581812"/>
              <a:ext cx="3649962" cy="885488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932472" fontAlgn="base">
                <a:defRPr sz="4000">
                  <a:latin typeface="+mj-lt"/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895923">
                <a:defRPr/>
              </a:pPr>
              <a:r>
                <a:rPr lang="en-US" sz="1950" b="1" kern="0">
                  <a:solidFill>
                    <a:schemeClr val="accent1"/>
                  </a:solidFill>
                  <a:latin typeface="Montserrat"/>
                  <a:cs typeface="Segoe UI Semibold"/>
                </a:rPr>
                <a:t>Model Type</a:t>
              </a:r>
              <a:endParaRPr lang="en-US" sz="195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BB72897-5A1E-4E30-A407-9EACEFE91A3B}"/>
                </a:ext>
              </a:extLst>
            </p:cNvPr>
            <p:cNvSpPr txBox="1"/>
            <p:nvPr/>
          </p:nvSpPr>
          <p:spPr>
            <a:xfrm>
              <a:off x="6180679" y="1578827"/>
              <a:ext cx="3649962" cy="885488"/>
            </a:xfrm>
            <a:prstGeom prst="rect">
              <a:avLst/>
            </a:prstGeom>
            <a:ln w="190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932472" fontAlgn="base">
                <a:defRPr sz="4000">
                  <a:latin typeface="+mj-lt"/>
                  <a:ea typeface="Segoe UI" pitchFamily="34" charset="0"/>
                  <a:cs typeface="Segoe UI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895923">
                <a:defRPr/>
              </a:pPr>
              <a:r>
                <a:rPr lang="en-US" sz="1950" b="1" kern="0">
                  <a:solidFill>
                    <a:schemeClr val="accent3"/>
                  </a:solidFill>
                  <a:latin typeface="Montserrat"/>
                  <a:cs typeface="Segoe UI Semibold"/>
                </a:rPr>
                <a:t>Performance*</a:t>
              </a:r>
              <a:endParaRPr lang="en-US" sz="1961" b="1" kern="0">
                <a:solidFill>
                  <a:schemeClr val="accent3"/>
                </a:solidFill>
                <a:latin typeface="Montserrat" panose="00000500000000000000" pitchFamily="2" charset="0"/>
                <a:cs typeface="Segoe UI Semibold" panose="020B0702040204020203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4A57891-0C90-4A6E-8B3D-7FDEA694B60D}"/>
                </a:ext>
              </a:extLst>
            </p:cNvPr>
            <p:cNvSpPr txBox="1"/>
            <p:nvPr/>
          </p:nvSpPr>
          <p:spPr>
            <a:xfrm>
              <a:off x="2702147" y="3304713"/>
              <a:ext cx="2964096" cy="1754326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  <a:latin typeface="Montserrat"/>
                </a:rPr>
                <a:t>Random Forest </a:t>
              </a:r>
              <a:r>
                <a:rPr lang="en-US">
                  <a:solidFill>
                    <a:schemeClr val="bg1"/>
                  </a:solidFill>
                  <a:latin typeface="Montserrat"/>
                </a:rPr>
                <a:t>allows us to let the model create interactions terms and limit variables selection at each node.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4712C1B-F16E-47AE-AC36-D5E857151A45}"/>
              </a:ext>
            </a:extLst>
          </p:cNvPr>
          <p:cNvSpPr txBox="1"/>
          <p:nvPr/>
        </p:nvSpPr>
        <p:spPr>
          <a:xfrm>
            <a:off x="10418377" y="6201612"/>
            <a:ext cx="1773623" cy="805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980"/>
              </a:spcBef>
            </a:pPr>
            <a:r>
              <a:rPr lang="en-US" sz="1000">
                <a:latin typeface="Montserrat"/>
                <a:cs typeface="Segoe UI"/>
              </a:rPr>
              <a:t>* AUC on validation: 0.71</a:t>
            </a:r>
          </a:p>
          <a:p>
            <a:pPr algn="ctr">
              <a:spcBef>
                <a:spcPts val="980"/>
              </a:spcBef>
            </a:pPr>
            <a:r>
              <a:rPr lang="en-US" sz="1000">
                <a:latin typeface="Montserrat"/>
                <a:cs typeface="Segoe UI"/>
              </a:rPr>
              <a:t>AUC on test data: 0.58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3756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470BB0-45B3-41DB-BCA4-2F2D64BB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470BB0-45B3-41DB-BCA4-2F2D64BB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578" b="1">
                <a:latin typeface="Montserrat" panose="00000500000000000000" pitchFamily="2" charset="0"/>
                <a:cs typeface="Segoe UI Semibold" panose="020B0702040204020203" pitchFamily="34" charset="0"/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442580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470BB0-45B3-41DB-BCA4-2F2D64BB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470BB0-45B3-41DB-BCA4-2F2D64BB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3036301"/>
            <a:ext cx="9144000" cy="495520"/>
          </a:xfrm>
        </p:spPr>
        <p:txBody>
          <a:bodyPr vert="horz"/>
          <a:lstStyle/>
          <a:p>
            <a:r>
              <a:rPr lang="en-US" sz="3578" b="1">
                <a:latin typeface="Montserrat" panose="00000500000000000000" pitchFamily="2" charset="0"/>
                <a:cs typeface="Segoe UI Semibold" panose="020B0702040204020203" pitchFamily="34" charset="0"/>
              </a:rPr>
              <a:t>Why this matters to Microsoft</a:t>
            </a:r>
          </a:p>
        </p:txBody>
      </p:sp>
    </p:spTree>
    <p:extLst>
      <p:ext uri="{BB962C8B-B14F-4D97-AF65-F5344CB8AC3E}">
        <p14:creationId xmlns:p14="http://schemas.microsoft.com/office/powerpoint/2010/main" val="525232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715853-5674-4300-938D-D4D79701FE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715853-5674-4300-938D-D4D79701F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rgbClr val="505050"/>
                </a:solidFill>
                <a:latin typeface="Spectral"/>
              </a:rPr>
              <a:t>Recommendations to leverage the mod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C4952D2-589A-40A5-AA13-7D04D8EDB774}"/>
              </a:ext>
            </a:extLst>
          </p:cNvPr>
          <p:cNvSpPr/>
          <p:nvPr/>
        </p:nvSpPr>
        <p:spPr bwMode="auto">
          <a:xfrm>
            <a:off x="7504121" y="2444133"/>
            <a:ext cx="3912352" cy="18297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89642" rIns="134464" bIns="8964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80"/>
              </a:spcBef>
            </a:pP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Send online trainings/security quizzes to individuals at high risk to improve customer recognition and avoidance of unsecure behavior</a:t>
            </a:r>
          </a:p>
          <a:p>
            <a:pPr>
              <a:spcBef>
                <a:spcPts val="980"/>
              </a:spcBef>
            </a:pP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3848BD-D91C-4DDB-BD21-97C67DCA643D}"/>
              </a:ext>
            </a:extLst>
          </p:cNvPr>
          <p:cNvSpPr txBox="1"/>
          <p:nvPr/>
        </p:nvSpPr>
        <p:spPr>
          <a:xfrm>
            <a:off x="3376106" y="1350492"/>
            <a:ext cx="3912351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Keep customers on latest vers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B72897-5A1E-4E30-A407-9EACEFE91A3B}"/>
              </a:ext>
            </a:extLst>
          </p:cNvPr>
          <p:cNvSpPr txBox="1"/>
          <p:nvPr/>
        </p:nvSpPr>
        <p:spPr>
          <a:xfrm>
            <a:off x="7504121" y="1350492"/>
            <a:ext cx="3912351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923" fontAlgn="base">
              <a:defRPr b="1" kern="0">
                <a:solidFill>
                  <a:schemeClr val="accent1"/>
                </a:solidFill>
                <a:latin typeface="Montserrat" panose="00000500000000000000" pitchFamily="2" charset="0"/>
                <a:ea typeface="Segoe UI" pitchFamily="34" charset="0"/>
                <a:cs typeface="Segoe UI Semibold" panose="020B07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/>
              <a:t>Improve customer educ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9FCE12-1ADD-44A3-9B89-CFB6A4BFF764}"/>
              </a:ext>
            </a:extLst>
          </p:cNvPr>
          <p:cNvSpPr/>
          <p:nvPr/>
        </p:nvSpPr>
        <p:spPr bwMode="auto">
          <a:xfrm>
            <a:off x="7504121" y="4494605"/>
            <a:ext cx="3912352" cy="18297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89642" rIns="134464" bIns="8964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80"/>
              </a:spcBef>
            </a:pP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Develop malware education resources that can be shared by organization’s internal communications teams</a:t>
            </a:r>
          </a:p>
          <a:p>
            <a:pPr>
              <a:spcBef>
                <a:spcPts val="980"/>
              </a:spcBef>
            </a:pP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AEB0F9-CA93-42A7-859F-80D44037E767}"/>
              </a:ext>
            </a:extLst>
          </p:cNvPr>
          <p:cNvSpPr/>
          <p:nvPr/>
        </p:nvSpPr>
        <p:spPr bwMode="auto">
          <a:xfrm>
            <a:off x="3376106" y="2444133"/>
            <a:ext cx="3912352" cy="18297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89642" rIns="134464" bIns="8964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80"/>
              </a:spcBef>
            </a:pP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Increase pop-up update reminders to individuals identified as high-risk</a:t>
            </a: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  <a:p>
            <a:pPr>
              <a:spcBef>
                <a:spcPts val="980"/>
              </a:spcBef>
            </a:pP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Revive “</a:t>
            </a:r>
            <a:r>
              <a:rPr lang="en-US" sz="1372" err="1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Clippy</a:t>
            </a: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” as malware security fighting mascot</a:t>
            </a:r>
          </a:p>
          <a:p>
            <a:pPr>
              <a:spcBef>
                <a:spcPts val="980"/>
              </a:spcBef>
            </a:pP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B8B597-308F-445B-95BB-3DF5E7B2B037}"/>
              </a:ext>
            </a:extLst>
          </p:cNvPr>
          <p:cNvSpPr/>
          <p:nvPr/>
        </p:nvSpPr>
        <p:spPr bwMode="auto">
          <a:xfrm>
            <a:off x="3376106" y="4494605"/>
            <a:ext cx="3912352" cy="182976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89642" rIns="134464" bIns="8964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80"/>
              </a:spcBef>
            </a:pP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Translate predictive score to “security metric” and have sales team share warning with high-risk organizations</a:t>
            </a: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b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</a:br>
            <a:r>
              <a:rPr lang="en-US" sz="1372">
                <a:solidFill>
                  <a:schemeClr val="bg1"/>
                </a:solidFill>
                <a:latin typeface="Montserrat" panose="00000500000000000000" pitchFamily="2" charset="0"/>
                <a:cs typeface="Segoe UI"/>
              </a:rPr>
              <a:t>Cross-sell Microsoft Industry Solutions security consulting services</a:t>
            </a:r>
          </a:p>
          <a:p>
            <a:pPr>
              <a:spcBef>
                <a:spcPts val="980"/>
              </a:spcBef>
            </a:pP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  <a:p>
            <a:pPr>
              <a:spcBef>
                <a:spcPts val="980"/>
              </a:spcBef>
            </a:pPr>
            <a:endParaRPr lang="en-US" sz="1372">
              <a:solidFill>
                <a:schemeClr val="bg1"/>
              </a:solidFill>
              <a:latin typeface="Montserrat" panose="00000500000000000000" pitchFamily="2" charset="0"/>
              <a:cs typeface="Segoe U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D5DA12-64FE-4198-B3E4-64E812BA2339}"/>
              </a:ext>
            </a:extLst>
          </p:cNvPr>
          <p:cNvSpPr txBox="1"/>
          <p:nvPr/>
        </p:nvSpPr>
        <p:spPr>
          <a:xfrm>
            <a:off x="500370" y="2444132"/>
            <a:ext cx="2660073" cy="1829769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b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</a:br>
            <a: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For Consum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FADE823-B9A1-47EC-AD23-FC519A8D688F}"/>
              </a:ext>
            </a:extLst>
          </p:cNvPr>
          <p:cNvSpPr txBox="1"/>
          <p:nvPr/>
        </p:nvSpPr>
        <p:spPr>
          <a:xfrm>
            <a:off x="500370" y="4482053"/>
            <a:ext cx="2660073" cy="1829769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b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</a:br>
            <a: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For Organizations</a:t>
            </a:r>
          </a:p>
        </p:txBody>
      </p:sp>
      <p:pic>
        <p:nvPicPr>
          <p:cNvPr id="5" name="Graphic 4" descr="User with solid fill">
            <a:extLst>
              <a:ext uri="{FF2B5EF4-FFF2-40B4-BE49-F238E27FC236}">
                <a16:creationId xmlns:a16="http://schemas.microsoft.com/office/drawing/2014/main" id="{EBE95A64-3DEA-4D9A-91F4-0856089B65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35552" y="3221182"/>
            <a:ext cx="824346" cy="824346"/>
          </a:xfrm>
          <a:prstGeom prst="rect">
            <a:avLst/>
          </a:prstGeom>
        </p:spPr>
      </p:pic>
      <p:pic>
        <p:nvPicPr>
          <p:cNvPr id="7" name="Graphic 6" descr="Users with solid fill">
            <a:extLst>
              <a:ext uri="{FF2B5EF4-FFF2-40B4-BE49-F238E27FC236}">
                <a16:creationId xmlns:a16="http://schemas.microsoft.com/office/drawing/2014/main" id="{8B842544-BC5B-452E-A77D-CF5A58E95B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73206" y="52070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2036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6C661A-007B-43E4-A91C-B84329A29D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74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6C661A-007B-43E4-A91C-B84329A29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960C2D-BDCE-4640-AB03-D29BE4DED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Montserrat" panose="00000500000000000000" pitchFamily="2" charset="0"/>
              </a:rPr>
              <a:t>Next ste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F0CC29-E273-4D7C-943F-8389D1B2A760}"/>
              </a:ext>
            </a:extLst>
          </p:cNvPr>
          <p:cNvSpPr txBox="1"/>
          <p:nvPr/>
        </p:nvSpPr>
        <p:spPr>
          <a:xfrm>
            <a:off x="838200" y="1680586"/>
            <a:ext cx="4475443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800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Objectiv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DCBB6E-68B4-4362-A12C-0DD2809AF5BA}"/>
              </a:ext>
            </a:extLst>
          </p:cNvPr>
          <p:cNvSpPr txBox="1"/>
          <p:nvPr/>
        </p:nvSpPr>
        <p:spPr>
          <a:xfrm>
            <a:off x="6996121" y="1680586"/>
            <a:ext cx="4475443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923" fontAlgn="base">
              <a:defRPr b="1" kern="0">
                <a:solidFill>
                  <a:schemeClr val="accent1"/>
                </a:solidFill>
                <a:latin typeface="Montserrat" panose="00000500000000000000" pitchFamily="2" charset="0"/>
                <a:ea typeface="Segoe UI" pitchFamily="34" charset="0"/>
                <a:cs typeface="Segoe UI Semibold" panose="020B07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/>
              <a:t>Work Requir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71E28C-B391-4C8E-B474-753D0B968D60}"/>
              </a:ext>
            </a:extLst>
          </p:cNvPr>
          <p:cNvSpPr txBox="1"/>
          <p:nvPr/>
        </p:nvSpPr>
        <p:spPr>
          <a:xfrm>
            <a:off x="838199" y="2814599"/>
            <a:ext cx="44754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Spectral"/>
              </a:rPr>
              <a:t>Use model insights to drive product road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pectral"/>
              </a:rPr>
              <a:t>Orient Microsoft’s development team to prioritize addressing security features associated with high predicted malware ri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>
              <a:latin typeface="Spectr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CA21-A725-42D3-AB42-FEDD67E5E312}"/>
              </a:ext>
            </a:extLst>
          </p:cNvPr>
          <p:cNvSpPr txBox="1"/>
          <p:nvPr/>
        </p:nvSpPr>
        <p:spPr>
          <a:xfrm>
            <a:off x="6996121" y="2814599"/>
            <a:ext cx="463246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Spectral"/>
              </a:rPr>
              <a:t>Better understand which features are </a:t>
            </a:r>
            <a:br>
              <a:rPr lang="en-US" b="1">
                <a:latin typeface="Spectral"/>
              </a:rPr>
            </a:br>
            <a:r>
              <a:rPr lang="en-US" b="1">
                <a:latin typeface="Spectral"/>
              </a:rPr>
              <a:t>creating ri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pectral"/>
              </a:rPr>
              <a:t>Example: Dig into Defender Configuration to further understand sources of security ri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>
              <a:latin typeface="Spectr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4AA3244-4D4B-488F-9052-868D3205D3F4}"/>
              </a:ext>
            </a:extLst>
          </p:cNvPr>
          <p:cNvSpPr txBox="1"/>
          <p:nvPr/>
        </p:nvSpPr>
        <p:spPr>
          <a:xfrm>
            <a:off x="838199" y="4528034"/>
            <a:ext cx="44754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Spectral"/>
              </a:rPr>
              <a:t>Maintain accuracy of model versus world dr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pectral"/>
              </a:rPr>
              <a:t>Ensure model accounts for evolving malware risks and updated defen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>
              <a:latin typeface="Spectr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9CCF9E-8FD9-4F36-AEE0-D72298D4817A}"/>
              </a:ext>
            </a:extLst>
          </p:cNvPr>
          <p:cNvSpPr txBox="1"/>
          <p:nvPr/>
        </p:nvSpPr>
        <p:spPr>
          <a:xfrm>
            <a:off x="6996121" y="4528034"/>
            <a:ext cx="44754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Spectral"/>
              </a:rPr>
              <a:t>Regularly retrain model with new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Spectral"/>
              </a:rPr>
              <a:t>Continue our working relationship by establishing data gathering procedures and model update sche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>
              <a:latin typeface="Spectral"/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0BE94FA6-4768-44ED-9614-FFF0E10EAF4C}"/>
              </a:ext>
            </a:extLst>
          </p:cNvPr>
          <p:cNvSpPr/>
          <p:nvPr/>
        </p:nvSpPr>
        <p:spPr>
          <a:xfrm>
            <a:off x="5636280" y="3185514"/>
            <a:ext cx="967723" cy="240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2616A49D-A981-4DD5-8C45-B3AC0AD742BB}"/>
              </a:ext>
            </a:extLst>
          </p:cNvPr>
          <p:cNvSpPr/>
          <p:nvPr/>
        </p:nvSpPr>
        <p:spPr>
          <a:xfrm>
            <a:off x="5636280" y="4888052"/>
            <a:ext cx="967723" cy="2401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333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715853-5674-4300-938D-D4D79701FE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715853-5674-4300-938D-D4D79701F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600">
                <a:solidFill>
                  <a:srgbClr val="505050"/>
                </a:solidFill>
                <a:latin typeface="Spectral"/>
              </a:rPr>
              <a:t>The Problem: Malware is a growing threat to Microsoft’s mission of empowering people and organization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9A517A1-6BD5-44CC-B9E0-8BB11965716C}"/>
              </a:ext>
            </a:extLst>
          </p:cNvPr>
          <p:cNvGrpSpPr/>
          <p:nvPr/>
        </p:nvGrpSpPr>
        <p:grpSpPr>
          <a:xfrm>
            <a:off x="452075" y="3454134"/>
            <a:ext cx="11288601" cy="2956823"/>
            <a:chOff x="461140" y="2509156"/>
            <a:chExt cx="11514960" cy="300769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929749D-AA86-46D9-90AE-17CB67ABFC4D}"/>
                </a:ext>
              </a:extLst>
            </p:cNvPr>
            <p:cNvSpPr/>
            <p:nvPr/>
          </p:nvSpPr>
          <p:spPr bwMode="auto">
            <a:xfrm>
              <a:off x="461140" y="2509156"/>
              <a:ext cx="3723152" cy="3007699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 sz="6600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$2.4 M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C4952D2-589A-40A5-AA13-7D04D8EDB774}"/>
                </a:ext>
              </a:extLst>
            </p:cNvPr>
            <p:cNvSpPr/>
            <p:nvPr/>
          </p:nvSpPr>
          <p:spPr bwMode="auto">
            <a:xfrm>
              <a:off x="4357044" y="2509156"/>
              <a:ext cx="3723152" cy="300574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 sz="6600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57x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BC50533-2DC5-477F-8955-B76A74C4A93A}"/>
                </a:ext>
              </a:extLst>
            </p:cNvPr>
            <p:cNvSpPr/>
            <p:nvPr/>
          </p:nvSpPr>
          <p:spPr bwMode="auto">
            <a:xfrm>
              <a:off x="8252948" y="2509156"/>
              <a:ext cx="3723152" cy="3007699"/>
            </a:xfrm>
            <a:prstGeom prst="rect">
              <a:avLst/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 sz="6600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$20 B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9B18F02-2783-4AEE-B4DA-B9190E68C6E8}"/>
                </a:ext>
              </a:extLst>
            </p:cNvPr>
            <p:cNvSpPr/>
            <p:nvPr/>
          </p:nvSpPr>
          <p:spPr bwMode="auto">
            <a:xfrm>
              <a:off x="4357044" y="4520437"/>
              <a:ext cx="3723152" cy="31109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464" tIns="89642" rIns="134464" bIns="896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80"/>
                </a:spcBef>
              </a:pPr>
              <a:r>
                <a:rPr lang="en-US" sz="1600">
                  <a:solidFill>
                    <a:schemeClr val="bg1"/>
                  </a:solidFill>
                  <a:latin typeface="Montserrat" panose="00000500000000000000" pitchFamily="2" charset="0"/>
                  <a:cs typeface="Segoe UI"/>
                </a:rPr>
                <a:t>between 2015 - 2021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C3848BD-D91C-4DDB-BD21-97C67DCA643D}"/>
              </a:ext>
            </a:extLst>
          </p:cNvPr>
          <p:cNvSpPr txBox="1"/>
          <p:nvPr/>
        </p:nvSpPr>
        <p:spPr>
          <a:xfrm>
            <a:off x="448180" y="2332784"/>
            <a:ext cx="3649962" cy="885488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Avg. Cost of </a:t>
            </a:r>
          </a:p>
          <a:p>
            <a:pPr defTabSz="895923">
              <a:defRPr/>
            </a:pPr>
            <a:r>
              <a:rPr lang="en-US" sz="1961" b="1" kern="0">
                <a:solidFill>
                  <a:schemeClr val="accent1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Malware Attac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B72897-5A1E-4E30-A407-9EACEFE91A3B}"/>
              </a:ext>
            </a:extLst>
          </p:cNvPr>
          <p:cNvSpPr txBox="1"/>
          <p:nvPr/>
        </p:nvSpPr>
        <p:spPr>
          <a:xfrm>
            <a:off x="4271395" y="2347942"/>
            <a:ext cx="3649962" cy="885488"/>
          </a:xfrm>
          <a:prstGeom prst="rect">
            <a:avLst/>
          </a:prstGeom>
          <a:ln w="19050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chemeClr val="accent3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Increase in Ransomware Attack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DBC192-3D79-4F87-999A-ED5E5BBEBA6A}"/>
              </a:ext>
            </a:extLst>
          </p:cNvPr>
          <p:cNvSpPr txBox="1"/>
          <p:nvPr/>
        </p:nvSpPr>
        <p:spPr>
          <a:xfrm>
            <a:off x="8088436" y="2347942"/>
            <a:ext cx="3649962" cy="885488"/>
          </a:xfrm>
          <a:prstGeom prst="rect">
            <a:avLst/>
          </a:prstGeom>
          <a:ln w="19050">
            <a:solidFill>
              <a:srgbClr val="50505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68927" tIns="0" rIns="87868" bIns="4393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472" fontAlgn="base">
              <a:defRPr sz="4000">
                <a:latin typeface="+mj-lt"/>
                <a:ea typeface="Segoe UI" pitchFamily="34" charset="0"/>
                <a:cs typeface="Segoe UI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95923">
              <a:defRPr/>
            </a:pPr>
            <a:r>
              <a:rPr lang="en-US" sz="1961" b="1" kern="0">
                <a:solidFill>
                  <a:srgbClr val="505050"/>
                </a:solidFill>
                <a:latin typeface="Montserrat" panose="00000500000000000000" pitchFamily="2" charset="0"/>
                <a:cs typeface="Segoe UI Semibold" panose="020B0702040204020203" pitchFamily="34" charset="0"/>
              </a:rPr>
              <a:t>Global Cost of Ransomware Attacks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280B2C5-7624-48CF-8749-F4E3121AC2C2}"/>
              </a:ext>
            </a:extLst>
          </p:cNvPr>
          <p:cNvSpPr txBox="1">
            <a:spLocks/>
          </p:cNvSpPr>
          <p:nvPr/>
        </p:nvSpPr>
        <p:spPr>
          <a:xfrm>
            <a:off x="448211" y="1302127"/>
            <a:ext cx="11292463" cy="935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505050"/>
                </a:solidFill>
                <a:latin typeface="Spectral"/>
              </a:rPr>
              <a:t>Both the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frequency</a:t>
            </a:r>
            <a:r>
              <a:rPr lang="en-US" sz="2400">
                <a:solidFill>
                  <a:srgbClr val="505050"/>
                </a:solidFill>
                <a:latin typeface="Spectral"/>
              </a:rPr>
              <a:t> and </a:t>
            </a:r>
            <a:r>
              <a:rPr lang="en-US" sz="2400" b="1">
                <a:solidFill>
                  <a:srgbClr val="505050"/>
                </a:solidFill>
                <a:latin typeface="Spectral"/>
              </a:rPr>
              <a:t>cost</a:t>
            </a:r>
            <a:r>
              <a:rPr lang="en-US" sz="2400">
                <a:solidFill>
                  <a:srgbClr val="505050"/>
                </a:solidFill>
                <a:latin typeface="Spectral"/>
              </a:rPr>
              <a:t> associated with malware attacks are increasing rapidl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40A970-BA99-4B84-B9B4-51B60213E776}"/>
              </a:ext>
            </a:extLst>
          </p:cNvPr>
          <p:cNvSpPr txBox="1"/>
          <p:nvPr/>
        </p:nvSpPr>
        <p:spPr>
          <a:xfrm>
            <a:off x="706441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</a:t>
            </a:r>
            <a:r>
              <a:rPr lang="en-US" sz="1000">
                <a:solidFill>
                  <a:schemeClr val="bg1"/>
                </a:solidFill>
                <a:latin typeface="Spectral"/>
              </a:rPr>
              <a:t>Accenture</a:t>
            </a:r>
            <a:r>
              <a:rPr lang="en-US" sz="1000">
                <a:solidFill>
                  <a:schemeClr val="bg1"/>
                </a:solidFill>
              </a:rPr>
              <a:t> Cost of Cybercrime Study 20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04186B-6D52-44B1-AF95-39949215D2F1}"/>
              </a:ext>
            </a:extLst>
          </p:cNvPr>
          <p:cNvSpPr txBox="1"/>
          <p:nvPr/>
        </p:nvSpPr>
        <p:spPr>
          <a:xfrm>
            <a:off x="4525758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</a:t>
            </a:r>
            <a:r>
              <a:rPr lang="en-US" sz="1000">
                <a:solidFill>
                  <a:schemeClr val="bg1"/>
                </a:solidFill>
                <a:latin typeface="Spectral"/>
              </a:rPr>
              <a:t>Cybersecurity Ventures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CD17411-20C1-47C0-A39E-A86208CE3F12}"/>
              </a:ext>
            </a:extLst>
          </p:cNvPr>
          <p:cNvSpPr txBox="1"/>
          <p:nvPr/>
        </p:nvSpPr>
        <p:spPr>
          <a:xfrm>
            <a:off x="8344326" y="6116419"/>
            <a:ext cx="31412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Source: </a:t>
            </a:r>
            <a:r>
              <a:rPr lang="en-US" sz="1000">
                <a:solidFill>
                  <a:schemeClr val="bg1"/>
                </a:solidFill>
                <a:latin typeface="Spectral"/>
              </a:rPr>
              <a:t>Cybersecurity Ventures</a:t>
            </a:r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5186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6"/>
          <p:cNvSpPr txBox="1">
            <a:spLocks noGrp="1"/>
          </p:cNvSpPr>
          <p:nvPr>
            <p:ph type="sldNum" idx="4294967295"/>
          </p:nvPr>
        </p:nvSpPr>
        <p:spPr>
          <a:xfrm>
            <a:off x="11491867" y="6346233"/>
            <a:ext cx="542000" cy="30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fld id="{00000000-1234-1234-1234-123412341234}" type="slidenum">
              <a:rPr lang="en"/>
              <a:pPr/>
              <a:t>4</a:t>
            </a:fld>
            <a:r>
              <a:rPr lang="en"/>
              <a:t> </a:t>
            </a:r>
            <a:endParaRPr/>
          </a:p>
        </p:txBody>
      </p:sp>
      <p:sp>
        <p:nvSpPr>
          <p:cNvPr id="96" name="Google Shape;96;p16"/>
          <p:cNvSpPr txBox="1"/>
          <p:nvPr/>
        </p:nvSpPr>
        <p:spPr>
          <a:xfrm>
            <a:off x="1072081" y="1625600"/>
            <a:ext cx="10047838" cy="3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n-US" sz="4800" b="1">
                <a:solidFill>
                  <a:srgbClr val="00B0F0"/>
                </a:solidFill>
                <a:latin typeface="Montserrat"/>
                <a:ea typeface="Montserrat"/>
                <a:cs typeface="Montserrat"/>
                <a:sym typeface="Montserrat"/>
              </a:rPr>
              <a:t>Our Goal</a:t>
            </a:r>
            <a:endParaRPr sz="4800" b="1">
              <a:solidFill>
                <a:srgbClr val="00B0F0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>
              <a:buClr>
                <a:srgbClr val="000000"/>
              </a:buClr>
              <a:buSzPts val="2300"/>
            </a:pPr>
            <a:r>
              <a:rPr lang="en-US" sz="3600" b="1">
                <a:solidFill>
                  <a:srgbClr val="FFFFFF"/>
                </a:solidFill>
                <a:latin typeface="Spectral"/>
                <a:ea typeface="Spectral"/>
                <a:cs typeface="Spectral"/>
                <a:sym typeface="Spectral"/>
              </a:rPr>
              <a:t>Better predict malware risk through machine learning to lower malware infection rate for Microsoft customers</a:t>
            </a:r>
          </a:p>
        </p:txBody>
      </p:sp>
    </p:spTree>
    <p:extLst>
      <p:ext uri="{BB962C8B-B14F-4D97-AF65-F5344CB8AC3E}">
        <p14:creationId xmlns:p14="http://schemas.microsoft.com/office/powerpoint/2010/main" val="257380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33"/>
          <p:cNvSpPr txBox="1"/>
          <p:nvPr/>
        </p:nvSpPr>
        <p:spPr>
          <a:xfrm>
            <a:off x="574300" y="387400"/>
            <a:ext cx="5944800" cy="77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2800" b="1">
                <a:solidFill>
                  <a:schemeClr val="dk1"/>
                </a:solidFill>
                <a:latin typeface="Spectral"/>
                <a:ea typeface="Spectral"/>
                <a:cs typeface="Spectral"/>
                <a:sym typeface="Spectral"/>
              </a:rPr>
              <a:t>Our process</a:t>
            </a:r>
            <a:endParaRPr sz="2800" b="1">
              <a:latin typeface="Spectral"/>
              <a:ea typeface="Spectral"/>
              <a:cs typeface="Spectral"/>
              <a:sym typeface="Spectral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428497B-8627-4B9F-897A-35EF58B30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8170063"/>
              </p:ext>
            </p:extLst>
          </p:nvPr>
        </p:nvGraphicFramePr>
        <p:xfrm>
          <a:off x="2032000" y="105193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470BB0-45B3-41DB-BCA4-2F2D64BB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470BB0-45B3-41DB-BCA4-2F2D64BB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3036301"/>
            <a:ext cx="9144000" cy="495520"/>
          </a:xfrm>
        </p:spPr>
        <p:txBody>
          <a:bodyPr vert="horz"/>
          <a:lstStyle/>
          <a:p>
            <a:r>
              <a:rPr lang="en-US" sz="3578" b="1">
                <a:latin typeface="Montserrat" panose="00000500000000000000" pitchFamily="2" charset="0"/>
                <a:cs typeface="Segoe UI Semibold" panose="020B0702040204020203" pitchFamily="34" charset="0"/>
              </a:rPr>
              <a:t>Initial visualizations</a:t>
            </a:r>
          </a:p>
        </p:txBody>
      </p:sp>
    </p:spTree>
    <p:extLst>
      <p:ext uri="{BB962C8B-B14F-4D97-AF65-F5344CB8AC3E}">
        <p14:creationId xmlns:p14="http://schemas.microsoft.com/office/powerpoint/2010/main" val="279887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84B018-6B3E-4934-A2DF-9012A11FC5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84B018-6B3E-4934-A2DF-9012A11FC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264;p54">
            <a:extLst>
              <a:ext uri="{FF2B5EF4-FFF2-40B4-BE49-F238E27FC236}">
                <a16:creationId xmlns:a16="http://schemas.microsoft.com/office/drawing/2014/main" id="{4D4446E2-4161-4105-ADB8-B3BF96875207}"/>
              </a:ext>
            </a:extLst>
          </p:cNvPr>
          <p:cNvSpPr/>
          <p:nvPr/>
        </p:nvSpPr>
        <p:spPr>
          <a:xfrm>
            <a:off x="3950499" y="1371318"/>
            <a:ext cx="7698800" cy="411630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00025" dist="38100" dir="5400000" algn="bl" rotWithShape="0">
              <a:srgbClr val="000000">
                <a:alpha val="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 b="1">
              <a:latin typeface="Spectral"/>
            </a:endParaRPr>
          </a:p>
        </p:txBody>
      </p:sp>
      <p:sp>
        <p:nvSpPr>
          <p:cNvPr id="14" name="Google Shape;267;p54">
            <a:extLst>
              <a:ext uri="{FF2B5EF4-FFF2-40B4-BE49-F238E27FC236}">
                <a16:creationId xmlns:a16="http://schemas.microsoft.com/office/drawing/2014/main" id="{1D364871-DD87-41A3-B687-E682F53F9F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8566" y="1688811"/>
            <a:ext cx="2777600" cy="3480376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>
                <a:latin typeface="Spectral"/>
              </a:rPr>
              <a:t>Device Type</a:t>
            </a:r>
            <a:br>
              <a:rPr lang="en" b="0">
                <a:latin typeface="Spectral"/>
              </a:rPr>
            </a:br>
            <a:br>
              <a:rPr lang="en" b="0">
                <a:latin typeface="Spectral"/>
              </a:rPr>
            </a:br>
            <a:r>
              <a:rPr lang="en" sz="2000">
                <a:latin typeface="Spectral"/>
              </a:rPr>
              <a:t>Reasoning:</a:t>
            </a:r>
            <a:r>
              <a:rPr lang="en" sz="2000" b="0">
                <a:latin typeface="Spectral"/>
              </a:rPr>
              <a:t> our general computer knowledge leads us to believe device type could be important</a:t>
            </a:r>
            <a:br>
              <a:rPr lang="en" sz="2000" b="0">
                <a:latin typeface="Spectral"/>
              </a:rPr>
            </a:br>
            <a:br>
              <a:rPr lang="en" sz="2000" b="0">
                <a:latin typeface="Spectral"/>
              </a:rPr>
            </a:br>
            <a:r>
              <a:rPr lang="en" sz="2000">
                <a:latin typeface="Spectral"/>
              </a:rPr>
              <a:t>Insight:</a:t>
            </a:r>
            <a:r>
              <a:rPr lang="en" sz="2000" b="0">
                <a:latin typeface="Spectral"/>
              </a:rPr>
              <a:t> servers/cloud and tablets have fewer detections</a:t>
            </a:r>
            <a:endParaRPr>
              <a:latin typeface="Spectr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597FEF-7164-4CB6-8CE2-C2B2482F66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5681" y="1371318"/>
            <a:ext cx="7508437" cy="411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32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184B018-6B3E-4934-A2DF-9012A11FC5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184B018-6B3E-4934-A2DF-9012A11FC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264;p54">
            <a:extLst>
              <a:ext uri="{FF2B5EF4-FFF2-40B4-BE49-F238E27FC236}">
                <a16:creationId xmlns:a16="http://schemas.microsoft.com/office/drawing/2014/main" id="{4D4446E2-4161-4105-ADB8-B3BF96875207}"/>
              </a:ext>
            </a:extLst>
          </p:cNvPr>
          <p:cNvSpPr/>
          <p:nvPr/>
        </p:nvSpPr>
        <p:spPr>
          <a:xfrm>
            <a:off x="3950499" y="1373842"/>
            <a:ext cx="7698800" cy="4116304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200025" dist="38100" dir="5400000" algn="bl" rotWithShape="0">
              <a:srgbClr val="000000">
                <a:alpha val="9000"/>
              </a:srgbClr>
            </a:outerShdw>
          </a:effectLst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US" sz="2400" b="1">
                <a:latin typeface="Spectral"/>
              </a:rPr>
              <a:t>Data</a:t>
            </a:r>
            <a:endParaRPr sz="2400" b="1">
              <a:latin typeface="Spectr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C128CB-7D6F-4E45-8B81-3F78DA1D1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2532" y="1367852"/>
            <a:ext cx="7554735" cy="4122294"/>
          </a:xfrm>
          <a:prstGeom prst="rect">
            <a:avLst/>
          </a:prstGeom>
        </p:spPr>
      </p:pic>
      <p:sp>
        <p:nvSpPr>
          <p:cNvPr id="16" name="Google Shape;267;p54">
            <a:extLst>
              <a:ext uri="{FF2B5EF4-FFF2-40B4-BE49-F238E27FC236}">
                <a16:creationId xmlns:a16="http://schemas.microsoft.com/office/drawing/2014/main" id="{E483F41A-A317-4C3D-A597-033C0C13539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78566" y="951471"/>
            <a:ext cx="2777600" cy="4955057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>
                <a:latin typeface="Spectral"/>
              </a:rPr>
              <a:t>Geography</a:t>
            </a:r>
            <a:br>
              <a:rPr lang="en" b="0">
                <a:latin typeface="Spectral"/>
              </a:rPr>
            </a:br>
            <a:br>
              <a:rPr lang="en" b="0">
                <a:latin typeface="Spectral"/>
              </a:rPr>
            </a:br>
            <a:r>
              <a:rPr lang="en" sz="2000">
                <a:latin typeface="Spectral"/>
              </a:rPr>
              <a:t>Reasoning:</a:t>
            </a:r>
            <a:r>
              <a:rPr lang="en" sz="2000" b="0">
                <a:latin typeface="Spectral"/>
              </a:rPr>
              <a:t> certain locations might be more susceptible to malware (e.g., different regulations, access to updated tech)</a:t>
            </a:r>
            <a:br>
              <a:rPr lang="en" sz="2000" b="0">
                <a:latin typeface="Spectral"/>
              </a:rPr>
            </a:br>
            <a:br>
              <a:rPr lang="en" sz="2000" b="0">
                <a:latin typeface="Spectral"/>
              </a:rPr>
            </a:br>
            <a:r>
              <a:rPr lang="en" sz="2000">
                <a:latin typeface="Spectral"/>
              </a:rPr>
              <a:t>Insight:</a:t>
            </a:r>
            <a:r>
              <a:rPr lang="en" sz="2000" b="0">
                <a:latin typeface="Spectral"/>
              </a:rPr>
              <a:t> it’s difficult to tell where detections are more likely becaus</a:t>
            </a:r>
            <a:r>
              <a:rPr lang="en-US" sz="2000" b="0">
                <a:latin typeface="Spectral"/>
              </a:rPr>
              <a:t>e</a:t>
            </a:r>
            <a:r>
              <a:rPr lang="en" sz="2000" b="0">
                <a:latin typeface="Spectral"/>
              </a:rPr>
              <a:t> we cannot get details on numbers, but geography plays a role</a:t>
            </a:r>
            <a:endParaRPr>
              <a:latin typeface="Spectral"/>
            </a:endParaRPr>
          </a:p>
        </p:txBody>
      </p:sp>
    </p:spTree>
    <p:extLst>
      <p:ext uri="{BB962C8B-B14F-4D97-AF65-F5344CB8AC3E}">
        <p14:creationId xmlns:p14="http://schemas.microsoft.com/office/powerpoint/2010/main" val="32695834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470BB0-45B3-41DB-BCA4-2F2D64BB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470BB0-45B3-41DB-BCA4-2F2D64BB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3036301"/>
            <a:ext cx="9144000" cy="495520"/>
          </a:xfrm>
        </p:spPr>
        <p:txBody>
          <a:bodyPr vert="horz"/>
          <a:lstStyle/>
          <a:p>
            <a:r>
              <a:rPr lang="en-US" sz="3578" b="1">
                <a:latin typeface="Montserrat" panose="00000500000000000000" pitchFamily="2" charset="0"/>
                <a:cs typeface="Segoe UI Semibold" panose="020B0702040204020203" pitchFamily="34" charset="0"/>
              </a:rPr>
              <a:t>Key insights and visualizations </a:t>
            </a:r>
          </a:p>
        </p:txBody>
      </p:sp>
    </p:spTree>
    <p:extLst>
      <p:ext uri="{BB962C8B-B14F-4D97-AF65-F5344CB8AC3E}">
        <p14:creationId xmlns:p14="http://schemas.microsoft.com/office/powerpoint/2010/main" val="738311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1</Slides>
  <Notes>1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 Theme</vt:lpstr>
      <vt:lpstr>PowerPoint Presentation</vt:lpstr>
      <vt:lpstr>Why this matters to Microsoft</vt:lpstr>
      <vt:lpstr>The Problem: Malware is a growing threat to Microsoft’s mission of empowering people and organizations</vt:lpstr>
      <vt:lpstr>PowerPoint Presentation</vt:lpstr>
      <vt:lpstr>PowerPoint Presentation</vt:lpstr>
      <vt:lpstr>Initial visualizations</vt:lpstr>
      <vt:lpstr>Device Type  Reasoning: our general computer knowledge leads us to believe device type could be important  Insight: servers/cloud and tablets have fewer detections</vt:lpstr>
      <vt:lpstr>Geography  Reasoning: certain locations might be more susceptible to malware (e.g., different regulations, access to updated tech)  Insight: it’s difficult to tell where detections are more likely because we cannot get details on numbers, but geography plays a role</vt:lpstr>
      <vt:lpstr>Key insights and visualizations </vt:lpstr>
      <vt:lpstr>Data Categories</vt:lpstr>
      <vt:lpstr>PowerPoint Presentation</vt:lpstr>
      <vt:lpstr>Industry Research</vt:lpstr>
      <vt:lpstr>SmartScreen  Enabling any feature of SmartScreen (such as Warn, On, etc.) reduces detections</vt:lpstr>
      <vt:lpstr>Defender Configuration  Certain configurations leave computers more susceptible to detections</vt:lpstr>
      <vt:lpstr>AvSigVersion (Antivirus Signature Version)  Different versions leave computers more susceptible to detections</vt:lpstr>
      <vt:lpstr>Modeling process and performance</vt:lpstr>
      <vt:lpstr>PowerPoint Presentation</vt:lpstr>
      <vt:lpstr>Model Performance</vt:lpstr>
      <vt:lpstr>Recommendations</vt:lpstr>
      <vt:lpstr>Recommendations to leverage the model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wrence, Paige</dc:creator>
  <cp:revision>1</cp:revision>
  <dcterms:created xsi:type="dcterms:W3CDTF">2021-09-08T14:15:11Z</dcterms:created>
  <dcterms:modified xsi:type="dcterms:W3CDTF">2021-12-17T22:06:17Z</dcterms:modified>
</cp:coreProperties>
</file>